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xml" ContentType="application/vnd.openxmlformats-officedocument.presentationml.tags+xml"/>
  <Override PartName="/ppt/diagrams/data5.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6.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7.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8.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9.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10.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diagrams/data4.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706" r:id="rId3"/>
    <p:sldId id="259" r:id="rId4"/>
    <p:sldId id="696" r:id="rId5"/>
    <p:sldId id="309" r:id="rId6"/>
    <p:sldId id="303" r:id="rId7"/>
    <p:sldId id="281" r:id="rId8"/>
    <p:sldId id="707" r:id="rId9"/>
    <p:sldId id="717" r:id="rId10"/>
    <p:sldId id="282" r:id="rId11"/>
    <p:sldId id="701" r:id="rId12"/>
    <p:sldId id="298" r:id="rId13"/>
    <p:sldId id="284" r:id="rId14"/>
    <p:sldId id="711" r:id="rId15"/>
    <p:sldId id="719" r:id="rId16"/>
    <p:sldId id="716" r:id="rId17"/>
    <p:sldId id="287" r:id="rId18"/>
    <p:sldId id="705" r:id="rId19"/>
    <p:sldId id="712" r:id="rId20"/>
    <p:sldId id="288" r:id="rId21"/>
    <p:sldId id="289" r:id="rId22"/>
    <p:sldId id="290" r:id="rId23"/>
    <p:sldId id="698" r:id="rId24"/>
    <p:sldId id="699" r:id="rId25"/>
    <p:sldId id="702" r:id="rId26"/>
    <p:sldId id="703" r:id="rId27"/>
    <p:sldId id="293" r:id="rId28"/>
    <p:sldId id="714" r:id="rId29"/>
    <p:sldId id="294" r:id="rId30"/>
    <p:sldId id="713" r:id="rId31"/>
    <p:sldId id="708" r:id="rId32"/>
    <p:sldId id="709" r:id="rId33"/>
    <p:sldId id="704" r:id="rId34"/>
    <p:sldId id="296" r:id="rId35"/>
    <p:sldId id="297" r:id="rId36"/>
    <p:sldId id="710" r:id="rId37"/>
    <p:sldId id="305" r:id="rId38"/>
    <p:sldId id="315" r:id="rId39"/>
    <p:sldId id="316" r:id="rId40"/>
    <p:sldId id="317" r:id="rId41"/>
    <p:sldId id="319" r:id="rId42"/>
    <p:sldId id="320" r:id="rId43"/>
    <p:sldId id="322" r:id="rId44"/>
    <p:sldId id="715" r:id="rId45"/>
    <p:sldId id="700"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8475"/>
    <a:srgbClr val="00B0F0"/>
    <a:srgbClr val="ED7D31"/>
    <a:srgbClr val="A9D18E"/>
    <a:srgbClr val="D51BB6"/>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90" autoAdjust="0"/>
    <p:restoredTop sz="94660"/>
  </p:normalViewPr>
  <p:slideViewPr>
    <p:cSldViewPr snapToGrid="0">
      <p:cViewPr varScale="1">
        <p:scale>
          <a:sx n="156" d="100"/>
          <a:sy n="156" d="100"/>
        </p:scale>
        <p:origin x="112" y="288"/>
      </p:cViewPr>
      <p:guideLst/>
    </p:cSldViewPr>
  </p:slideViewPr>
  <p:notesTextViewPr>
    <p:cViewPr>
      <p:scale>
        <a:sx n="1" d="1"/>
        <a:sy n="1" d="1"/>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_rels/data4.xml.rels><?xml version="1.0" encoding="UTF-8" standalone="yes"?>
<Relationships xmlns="http://schemas.openxmlformats.org/package/2006/relationships"><Relationship Id="rId1"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C17ED3-8FF9-4A10-B53E-7C129025EF84}" type="doc">
      <dgm:prSet loTypeId="urn:microsoft.com/office/officeart/2005/8/layout/vList2" loCatId="list" qsTypeId="urn:microsoft.com/office/officeart/2005/8/quickstyle/simple2" qsCatId="simple" csTypeId="urn:microsoft.com/office/officeart/2005/8/colors/colorful5" csCatId="colorful" phldr="1"/>
      <dgm:spPr/>
      <dgm:t>
        <a:bodyPr/>
        <a:lstStyle/>
        <a:p>
          <a:endParaRPr lang="en-US"/>
        </a:p>
      </dgm:t>
    </dgm:pt>
    <dgm:pt modelId="{B0214FEF-5913-41CA-8D46-7B6C3AFD21A7}">
      <dgm:prSet/>
      <dgm:spPr>
        <a:solidFill>
          <a:schemeClr val="accent2">
            <a:lumMod val="75000"/>
          </a:schemeClr>
        </a:solidFill>
      </dgm:spPr>
      <dgm:t>
        <a:bodyPr/>
        <a:lstStyle/>
        <a:p>
          <a:r>
            <a:rPr lang="en-US" dirty="0"/>
            <a:t>Iron Law of Prediction</a:t>
          </a:r>
        </a:p>
      </dgm:t>
    </dgm:pt>
    <dgm:pt modelId="{7A8A518C-167E-48A8-A488-45D03FF8040B}" type="parTrans" cxnId="{009C131C-EAFF-44C1-AF8F-7C568955306E}">
      <dgm:prSet/>
      <dgm:spPr/>
      <dgm:t>
        <a:bodyPr/>
        <a:lstStyle/>
        <a:p>
          <a:endParaRPr lang="en-US"/>
        </a:p>
      </dgm:t>
    </dgm:pt>
    <dgm:pt modelId="{5D0DCC33-13E0-400C-A9BC-3ACB71CE956E}" type="sibTrans" cxnId="{009C131C-EAFF-44C1-AF8F-7C568955306E}">
      <dgm:prSet/>
      <dgm:spPr/>
      <dgm:t>
        <a:bodyPr/>
        <a:lstStyle/>
        <a:p>
          <a:endParaRPr lang="en-US"/>
        </a:p>
      </dgm:t>
    </dgm:pt>
    <dgm:pt modelId="{FE34C3A8-0991-4BD0-AF54-9F0787F6C3F2}">
      <dgm:prSet/>
      <dgm:spPr>
        <a:solidFill>
          <a:srgbClr val="C00000"/>
        </a:solidFill>
      </dgm:spPr>
      <dgm:t>
        <a:bodyPr/>
        <a:lstStyle/>
        <a:p>
          <a:r>
            <a:rPr lang="en-US" dirty="0"/>
            <a:t>Penalization</a:t>
          </a:r>
        </a:p>
      </dgm:t>
    </dgm:pt>
    <dgm:pt modelId="{E50C8919-F1E6-4C7E-BC9C-D82CBF89FC1D}" type="parTrans" cxnId="{43DBDBBA-1380-48FB-BFFD-FBB6DC643EF8}">
      <dgm:prSet/>
      <dgm:spPr/>
      <dgm:t>
        <a:bodyPr/>
        <a:lstStyle/>
        <a:p>
          <a:endParaRPr lang="en-US"/>
        </a:p>
      </dgm:t>
    </dgm:pt>
    <dgm:pt modelId="{EFFC0BCD-3AA8-40C8-B977-F12590970842}" type="sibTrans" cxnId="{43DBDBBA-1380-48FB-BFFD-FBB6DC643EF8}">
      <dgm:prSet/>
      <dgm:spPr/>
      <dgm:t>
        <a:bodyPr/>
        <a:lstStyle/>
        <a:p>
          <a:endParaRPr lang="en-US"/>
        </a:p>
      </dgm:t>
    </dgm:pt>
    <dgm:pt modelId="{5195B505-51F1-4CE1-83F6-FFCE065ED581}">
      <dgm:prSet/>
      <dgm:spPr>
        <a:solidFill>
          <a:srgbClr val="00B0F0"/>
        </a:solidFill>
      </dgm:spPr>
      <dgm:t>
        <a:bodyPr/>
        <a:lstStyle/>
        <a:p>
          <a:r>
            <a:rPr lang="en-US" dirty="0"/>
            <a:t>Cross-Validation</a:t>
          </a:r>
        </a:p>
      </dgm:t>
    </dgm:pt>
    <dgm:pt modelId="{0ED1259B-5AEC-4F44-86FD-1934E0EDA621}" type="parTrans" cxnId="{BF36A1C1-8163-4657-BFE7-23AC3A4E6258}">
      <dgm:prSet/>
      <dgm:spPr/>
      <dgm:t>
        <a:bodyPr/>
        <a:lstStyle/>
        <a:p>
          <a:endParaRPr lang="en-US"/>
        </a:p>
      </dgm:t>
    </dgm:pt>
    <dgm:pt modelId="{F0B4401E-D219-4384-82F5-444EA0F8F370}" type="sibTrans" cxnId="{BF36A1C1-8163-4657-BFE7-23AC3A4E6258}">
      <dgm:prSet/>
      <dgm:spPr/>
      <dgm:t>
        <a:bodyPr/>
        <a:lstStyle/>
        <a:p>
          <a:endParaRPr lang="en-US"/>
        </a:p>
      </dgm:t>
    </dgm:pt>
    <dgm:pt modelId="{0A202AD7-0AAD-4015-827D-F2A09649BE36}">
      <dgm:prSet/>
      <dgm:spPr>
        <a:solidFill>
          <a:schemeClr val="accent4">
            <a:lumMod val="75000"/>
          </a:schemeClr>
        </a:solidFill>
      </dgm:spPr>
      <dgm:t>
        <a:bodyPr/>
        <a:lstStyle/>
        <a:p>
          <a:r>
            <a:rPr lang="en-US" dirty="0"/>
            <a:t>Parameter Tuning </a:t>
          </a:r>
        </a:p>
      </dgm:t>
    </dgm:pt>
    <dgm:pt modelId="{A934C561-0623-4110-ADB1-25AD3517D49A}" type="parTrans" cxnId="{106454C7-945D-4E7C-8C8A-2EDC7897CAC7}">
      <dgm:prSet/>
      <dgm:spPr/>
      <dgm:t>
        <a:bodyPr/>
        <a:lstStyle/>
        <a:p>
          <a:endParaRPr lang="en-US"/>
        </a:p>
      </dgm:t>
    </dgm:pt>
    <dgm:pt modelId="{64C14105-BCC9-4D3F-9087-F0CCDBEC3647}" type="sibTrans" cxnId="{106454C7-945D-4E7C-8C8A-2EDC7897CAC7}">
      <dgm:prSet/>
      <dgm:spPr/>
      <dgm:t>
        <a:bodyPr/>
        <a:lstStyle/>
        <a:p>
          <a:endParaRPr lang="en-US"/>
        </a:p>
      </dgm:t>
    </dgm:pt>
    <dgm:pt modelId="{B0A19DDF-3FC0-4653-B1DB-31F4C936EAF6}">
      <dgm:prSet/>
      <dgm:spPr/>
      <dgm:t>
        <a:bodyPr/>
        <a:lstStyle/>
        <a:p>
          <a:r>
            <a:rPr lang="en-US" dirty="0"/>
            <a:t>Ensembles of Weak Learners</a:t>
          </a:r>
        </a:p>
      </dgm:t>
    </dgm:pt>
    <dgm:pt modelId="{7388E8A0-91DA-4892-ACA7-7378E9A26FBD}" type="parTrans" cxnId="{26C6A484-8716-42FD-8E1D-880111F1D9EF}">
      <dgm:prSet/>
      <dgm:spPr/>
      <dgm:t>
        <a:bodyPr/>
        <a:lstStyle/>
        <a:p>
          <a:endParaRPr lang="en-US"/>
        </a:p>
      </dgm:t>
    </dgm:pt>
    <dgm:pt modelId="{413B44EA-416C-430B-A1BC-795181535129}" type="sibTrans" cxnId="{26C6A484-8716-42FD-8E1D-880111F1D9EF}">
      <dgm:prSet/>
      <dgm:spPr/>
      <dgm:t>
        <a:bodyPr/>
        <a:lstStyle/>
        <a:p>
          <a:endParaRPr lang="en-US"/>
        </a:p>
      </dgm:t>
    </dgm:pt>
    <dgm:pt modelId="{EEF60654-DB1B-44D3-86B3-F6885350C48A}" type="pres">
      <dgm:prSet presAssocID="{A2C17ED3-8FF9-4A10-B53E-7C129025EF84}" presName="linear" presStyleCnt="0">
        <dgm:presLayoutVars>
          <dgm:animLvl val="lvl"/>
          <dgm:resizeHandles val="exact"/>
        </dgm:presLayoutVars>
      </dgm:prSet>
      <dgm:spPr/>
    </dgm:pt>
    <dgm:pt modelId="{C81845CE-63BD-4B43-BEDD-18343EAFFE55}" type="pres">
      <dgm:prSet presAssocID="{B0214FEF-5913-41CA-8D46-7B6C3AFD21A7}" presName="parentText" presStyleLbl="node1" presStyleIdx="0" presStyleCnt="5" custLinFactNeighborX="3753">
        <dgm:presLayoutVars>
          <dgm:chMax val="0"/>
          <dgm:bulletEnabled val="1"/>
        </dgm:presLayoutVars>
      </dgm:prSet>
      <dgm:spPr/>
    </dgm:pt>
    <dgm:pt modelId="{5E999126-7FE7-4B0C-BDCB-18F8EB41722D}" type="pres">
      <dgm:prSet presAssocID="{5D0DCC33-13E0-400C-A9BC-3ACB71CE956E}" presName="spacer" presStyleCnt="0"/>
      <dgm:spPr/>
    </dgm:pt>
    <dgm:pt modelId="{84EB9105-BC82-4558-A43A-DBB2F94FE967}" type="pres">
      <dgm:prSet presAssocID="{FE34C3A8-0991-4BD0-AF54-9F0787F6C3F2}" presName="parentText" presStyleLbl="node1" presStyleIdx="1" presStyleCnt="5">
        <dgm:presLayoutVars>
          <dgm:chMax val="0"/>
          <dgm:bulletEnabled val="1"/>
        </dgm:presLayoutVars>
      </dgm:prSet>
      <dgm:spPr/>
    </dgm:pt>
    <dgm:pt modelId="{0E4CD8E2-1CC0-4AA4-9D51-06049C7DE139}" type="pres">
      <dgm:prSet presAssocID="{EFFC0BCD-3AA8-40C8-B977-F12590970842}" presName="spacer" presStyleCnt="0"/>
      <dgm:spPr/>
    </dgm:pt>
    <dgm:pt modelId="{6C18BF48-6D31-48A5-856B-E05917809130}" type="pres">
      <dgm:prSet presAssocID="{5195B505-51F1-4CE1-83F6-FFCE065ED581}" presName="parentText" presStyleLbl="node1" presStyleIdx="2" presStyleCnt="5">
        <dgm:presLayoutVars>
          <dgm:chMax val="0"/>
          <dgm:bulletEnabled val="1"/>
        </dgm:presLayoutVars>
      </dgm:prSet>
      <dgm:spPr/>
    </dgm:pt>
    <dgm:pt modelId="{771CF1D7-9753-44E1-8634-766A3C116E26}" type="pres">
      <dgm:prSet presAssocID="{F0B4401E-D219-4384-82F5-444EA0F8F370}" presName="spacer" presStyleCnt="0"/>
      <dgm:spPr/>
    </dgm:pt>
    <dgm:pt modelId="{8A6558FE-4130-4777-97A1-3C02880156AB}" type="pres">
      <dgm:prSet presAssocID="{0A202AD7-0AAD-4015-827D-F2A09649BE36}" presName="parentText" presStyleLbl="node1" presStyleIdx="3" presStyleCnt="5">
        <dgm:presLayoutVars>
          <dgm:chMax val="0"/>
          <dgm:bulletEnabled val="1"/>
        </dgm:presLayoutVars>
      </dgm:prSet>
      <dgm:spPr/>
    </dgm:pt>
    <dgm:pt modelId="{B19602AC-9778-4DCD-AA66-459217C3DC2A}" type="pres">
      <dgm:prSet presAssocID="{64C14105-BCC9-4D3F-9087-F0CCDBEC3647}" presName="spacer" presStyleCnt="0"/>
      <dgm:spPr/>
    </dgm:pt>
    <dgm:pt modelId="{E750C9F0-C23E-43A5-9242-DE700BCD31BC}" type="pres">
      <dgm:prSet presAssocID="{B0A19DDF-3FC0-4653-B1DB-31F4C936EAF6}" presName="parentText" presStyleLbl="node1" presStyleIdx="4" presStyleCnt="5">
        <dgm:presLayoutVars>
          <dgm:chMax val="0"/>
          <dgm:bulletEnabled val="1"/>
        </dgm:presLayoutVars>
      </dgm:prSet>
      <dgm:spPr/>
    </dgm:pt>
  </dgm:ptLst>
  <dgm:cxnLst>
    <dgm:cxn modelId="{5690CD0A-CA3D-42AD-985F-E7D1257496D5}" type="presOf" srcId="{0A202AD7-0AAD-4015-827D-F2A09649BE36}" destId="{8A6558FE-4130-4777-97A1-3C02880156AB}" srcOrd="0" destOrd="0" presId="urn:microsoft.com/office/officeart/2005/8/layout/vList2"/>
    <dgm:cxn modelId="{FA0D5418-A6CF-45F9-8D98-B4CB5BCE0876}" type="presOf" srcId="{A2C17ED3-8FF9-4A10-B53E-7C129025EF84}" destId="{EEF60654-DB1B-44D3-86B3-F6885350C48A}" srcOrd="0" destOrd="0" presId="urn:microsoft.com/office/officeart/2005/8/layout/vList2"/>
    <dgm:cxn modelId="{009C131C-EAFF-44C1-AF8F-7C568955306E}" srcId="{A2C17ED3-8FF9-4A10-B53E-7C129025EF84}" destId="{B0214FEF-5913-41CA-8D46-7B6C3AFD21A7}" srcOrd="0" destOrd="0" parTransId="{7A8A518C-167E-48A8-A488-45D03FF8040B}" sibTransId="{5D0DCC33-13E0-400C-A9BC-3ACB71CE956E}"/>
    <dgm:cxn modelId="{867B7530-5958-42B0-B28B-7EC3702F49B8}" type="presOf" srcId="{B0A19DDF-3FC0-4653-B1DB-31F4C936EAF6}" destId="{E750C9F0-C23E-43A5-9242-DE700BCD31BC}" srcOrd="0" destOrd="0" presId="urn:microsoft.com/office/officeart/2005/8/layout/vList2"/>
    <dgm:cxn modelId="{26C6A484-8716-42FD-8E1D-880111F1D9EF}" srcId="{A2C17ED3-8FF9-4A10-B53E-7C129025EF84}" destId="{B0A19DDF-3FC0-4653-B1DB-31F4C936EAF6}" srcOrd="4" destOrd="0" parTransId="{7388E8A0-91DA-4892-ACA7-7378E9A26FBD}" sibTransId="{413B44EA-416C-430B-A1BC-795181535129}"/>
    <dgm:cxn modelId="{43DBDBBA-1380-48FB-BFFD-FBB6DC643EF8}" srcId="{A2C17ED3-8FF9-4A10-B53E-7C129025EF84}" destId="{FE34C3A8-0991-4BD0-AF54-9F0787F6C3F2}" srcOrd="1" destOrd="0" parTransId="{E50C8919-F1E6-4C7E-BC9C-D82CBF89FC1D}" sibTransId="{EFFC0BCD-3AA8-40C8-B977-F12590970842}"/>
    <dgm:cxn modelId="{CF7EB4BC-8CFD-4BBC-9F43-F89FBD9A45F4}" type="presOf" srcId="{FE34C3A8-0991-4BD0-AF54-9F0787F6C3F2}" destId="{84EB9105-BC82-4558-A43A-DBB2F94FE967}" srcOrd="0" destOrd="0" presId="urn:microsoft.com/office/officeart/2005/8/layout/vList2"/>
    <dgm:cxn modelId="{BF36A1C1-8163-4657-BFE7-23AC3A4E6258}" srcId="{A2C17ED3-8FF9-4A10-B53E-7C129025EF84}" destId="{5195B505-51F1-4CE1-83F6-FFCE065ED581}" srcOrd="2" destOrd="0" parTransId="{0ED1259B-5AEC-4F44-86FD-1934E0EDA621}" sibTransId="{F0B4401E-D219-4384-82F5-444EA0F8F370}"/>
    <dgm:cxn modelId="{106454C7-945D-4E7C-8C8A-2EDC7897CAC7}" srcId="{A2C17ED3-8FF9-4A10-B53E-7C129025EF84}" destId="{0A202AD7-0AAD-4015-827D-F2A09649BE36}" srcOrd="3" destOrd="0" parTransId="{A934C561-0623-4110-ADB1-25AD3517D49A}" sibTransId="{64C14105-BCC9-4D3F-9087-F0CCDBEC3647}"/>
    <dgm:cxn modelId="{1EE671D0-8016-4F8B-B336-797A34210C5B}" type="presOf" srcId="{B0214FEF-5913-41CA-8D46-7B6C3AFD21A7}" destId="{C81845CE-63BD-4B43-BEDD-18343EAFFE55}" srcOrd="0" destOrd="0" presId="urn:microsoft.com/office/officeart/2005/8/layout/vList2"/>
    <dgm:cxn modelId="{E45183EC-72B3-40F4-B8F8-C3A506ACB41B}" type="presOf" srcId="{5195B505-51F1-4CE1-83F6-FFCE065ED581}" destId="{6C18BF48-6D31-48A5-856B-E05917809130}" srcOrd="0" destOrd="0" presId="urn:microsoft.com/office/officeart/2005/8/layout/vList2"/>
    <dgm:cxn modelId="{3C82AC9D-BE09-4C0D-8F38-CA3AD785533E}" type="presParOf" srcId="{EEF60654-DB1B-44D3-86B3-F6885350C48A}" destId="{C81845CE-63BD-4B43-BEDD-18343EAFFE55}" srcOrd="0" destOrd="0" presId="urn:microsoft.com/office/officeart/2005/8/layout/vList2"/>
    <dgm:cxn modelId="{9BEAA737-660F-4434-BC1A-446B74B8E678}" type="presParOf" srcId="{EEF60654-DB1B-44D3-86B3-F6885350C48A}" destId="{5E999126-7FE7-4B0C-BDCB-18F8EB41722D}" srcOrd="1" destOrd="0" presId="urn:microsoft.com/office/officeart/2005/8/layout/vList2"/>
    <dgm:cxn modelId="{BDE23A8A-BFCD-4B57-89DC-46A40F045868}" type="presParOf" srcId="{EEF60654-DB1B-44D3-86B3-F6885350C48A}" destId="{84EB9105-BC82-4558-A43A-DBB2F94FE967}" srcOrd="2" destOrd="0" presId="urn:microsoft.com/office/officeart/2005/8/layout/vList2"/>
    <dgm:cxn modelId="{11052DE2-7590-435E-97EC-2B1E608FF415}" type="presParOf" srcId="{EEF60654-DB1B-44D3-86B3-F6885350C48A}" destId="{0E4CD8E2-1CC0-4AA4-9D51-06049C7DE139}" srcOrd="3" destOrd="0" presId="urn:microsoft.com/office/officeart/2005/8/layout/vList2"/>
    <dgm:cxn modelId="{D8EA56BC-BCD0-46C5-9EE1-433142C35F88}" type="presParOf" srcId="{EEF60654-DB1B-44D3-86B3-F6885350C48A}" destId="{6C18BF48-6D31-48A5-856B-E05917809130}" srcOrd="4" destOrd="0" presId="urn:microsoft.com/office/officeart/2005/8/layout/vList2"/>
    <dgm:cxn modelId="{05717E78-0881-4602-9842-64BF6C6014EF}" type="presParOf" srcId="{EEF60654-DB1B-44D3-86B3-F6885350C48A}" destId="{771CF1D7-9753-44E1-8634-766A3C116E26}" srcOrd="5" destOrd="0" presId="urn:microsoft.com/office/officeart/2005/8/layout/vList2"/>
    <dgm:cxn modelId="{3FAC7FAB-1F60-49F5-81EC-41FFED78F15A}" type="presParOf" srcId="{EEF60654-DB1B-44D3-86B3-F6885350C48A}" destId="{8A6558FE-4130-4777-97A1-3C02880156AB}" srcOrd="6" destOrd="0" presId="urn:microsoft.com/office/officeart/2005/8/layout/vList2"/>
    <dgm:cxn modelId="{6F7DF0D4-D358-4719-B654-D914E46F5C47}" type="presParOf" srcId="{EEF60654-DB1B-44D3-86B3-F6885350C48A}" destId="{B19602AC-9778-4DCD-AA66-459217C3DC2A}" srcOrd="7" destOrd="0" presId="urn:microsoft.com/office/officeart/2005/8/layout/vList2"/>
    <dgm:cxn modelId="{334FE6BA-76B8-4E46-AA8C-EE79FC1756D2}" type="presParOf" srcId="{EEF60654-DB1B-44D3-86B3-F6885350C48A}" destId="{E750C9F0-C23E-43A5-9242-DE700BCD31BC}"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92FB47B-E9F1-4CC6-B533-FF8FFD3FD698}"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66270F19-AA7A-41E5-A9B8-E51F0FBA1D87}">
      <dgm:prSet/>
      <dgm:spPr/>
      <dgm:t>
        <a:bodyPr/>
        <a:lstStyle/>
        <a:p>
          <a:r>
            <a:rPr lang="en-US"/>
            <a:t>Good old linear regression does a pretty good job!</a:t>
          </a:r>
        </a:p>
      </dgm:t>
    </dgm:pt>
    <dgm:pt modelId="{13F59EFE-2544-4AA7-9A1B-2722D7B7A757}" type="parTrans" cxnId="{FC21E607-D5B7-47BB-8867-51A780DFA887}">
      <dgm:prSet/>
      <dgm:spPr/>
      <dgm:t>
        <a:bodyPr/>
        <a:lstStyle/>
        <a:p>
          <a:endParaRPr lang="en-US"/>
        </a:p>
      </dgm:t>
    </dgm:pt>
    <dgm:pt modelId="{279C66AA-159E-4065-BE08-7DB704E12917}" type="sibTrans" cxnId="{FC21E607-D5B7-47BB-8867-51A780DFA887}">
      <dgm:prSet/>
      <dgm:spPr/>
      <dgm:t>
        <a:bodyPr/>
        <a:lstStyle/>
        <a:p>
          <a:endParaRPr lang="en-US"/>
        </a:p>
      </dgm:t>
    </dgm:pt>
    <dgm:pt modelId="{DCFE7CDA-E687-40B7-AA4B-EA960D9FB7D2}">
      <dgm:prSet/>
      <dgm:spPr/>
      <dgm:t>
        <a:bodyPr/>
        <a:lstStyle/>
        <a:p>
          <a:r>
            <a:rPr lang="en-US"/>
            <a:t>Even though it misses non-linear relationships and interactions</a:t>
          </a:r>
        </a:p>
      </dgm:t>
    </dgm:pt>
    <dgm:pt modelId="{C09C8973-3ED5-495C-8048-BC6919BBE22D}" type="parTrans" cxnId="{C1A6B6EA-5BD8-43DE-BE6C-2EB5F3A97E70}">
      <dgm:prSet/>
      <dgm:spPr/>
      <dgm:t>
        <a:bodyPr/>
        <a:lstStyle/>
        <a:p>
          <a:endParaRPr lang="en-US"/>
        </a:p>
      </dgm:t>
    </dgm:pt>
    <dgm:pt modelId="{DAB2B878-AF73-45D1-BB48-539405287F2D}" type="sibTrans" cxnId="{C1A6B6EA-5BD8-43DE-BE6C-2EB5F3A97E70}">
      <dgm:prSet/>
      <dgm:spPr/>
      <dgm:t>
        <a:bodyPr/>
        <a:lstStyle/>
        <a:p>
          <a:endParaRPr lang="en-US"/>
        </a:p>
      </dgm:t>
    </dgm:pt>
    <dgm:pt modelId="{9CE9F36B-34D5-4627-89B2-8D9850ADE49C}">
      <dgm:prSet/>
      <dgm:spPr/>
      <dgm:t>
        <a:bodyPr/>
        <a:lstStyle/>
        <a:p>
          <a:r>
            <a:rPr lang="en-US" dirty="0"/>
            <a:t>Very good “first-order” functional approximation</a:t>
          </a:r>
        </a:p>
      </dgm:t>
    </dgm:pt>
    <dgm:pt modelId="{2CE7AF87-045C-4AD2-AE1F-6FC7836B511B}" type="parTrans" cxnId="{7B80F6AA-F362-4205-8B3C-923C129321AD}">
      <dgm:prSet/>
      <dgm:spPr/>
      <dgm:t>
        <a:bodyPr/>
        <a:lstStyle/>
        <a:p>
          <a:endParaRPr lang="en-US"/>
        </a:p>
      </dgm:t>
    </dgm:pt>
    <dgm:pt modelId="{77954907-2FCE-44F2-AEB8-B8E5563FE5B9}" type="sibTrans" cxnId="{7B80F6AA-F362-4205-8B3C-923C129321AD}">
      <dgm:prSet/>
      <dgm:spPr/>
      <dgm:t>
        <a:bodyPr/>
        <a:lstStyle/>
        <a:p>
          <a:endParaRPr lang="en-US"/>
        </a:p>
      </dgm:t>
    </dgm:pt>
    <dgm:pt modelId="{B93AE55D-4955-4C29-A274-9436F23F871D}">
      <dgm:prSet/>
      <dgm:spPr/>
      <dgm:t>
        <a:bodyPr/>
        <a:lstStyle/>
        <a:p>
          <a:r>
            <a:rPr lang="en-US"/>
            <a:t>Single tree methods can be quite limited in predictive performance</a:t>
          </a:r>
        </a:p>
      </dgm:t>
    </dgm:pt>
    <dgm:pt modelId="{2C3F679F-171B-41C6-836B-A2DAF62B84C7}" type="parTrans" cxnId="{C3235458-94F3-4962-88B6-B788FDE5A19A}">
      <dgm:prSet/>
      <dgm:spPr/>
      <dgm:t>
        <a:bodyPr/>
        <a:lstStyle/>
        <a:p>
          <a:endParaRPr lang="en-US"/>
        </a:p>
      </dgm:t>
    </dgm:pt>
    <dgm:pt modelId="{92F45FFC-3A06-4798-952F-01F54F4F6763}" type="sibTrans" cxnId="{C3235458-94F3-4962-88B6-B788FDE5A19A}">
      <dgm:prSet/>
      <dgm:spPr/>
      <dgm:t>
        <a:bodyPr/>
        <a:lstStyle/>
        <a:p>
          <a:endParaRPr lang="en-US"/>
        </a:p>
      </dgm:t>
    </dgm:pt>
    <dgm:pt modelId="{0B09E2A5-B1A5-45E7-820F-CBE383ED9DC5}">
      <dgm:prSet/>
      <dgm:spPr/>
      <dgm:t>
        <a:bodyPr/>
        <a:lstStyle/>
        <a:p>
          <a:r>
            <a:rPr lang="en-US"/>
            <a:t>Can provide insight into most important predictors</a:t>
          </a:r>
        </a:p>
      </dgm:t>
    </dgm:pt>
    <dgm:pt modelId="{02DEDE92-7752-409B-A19F-96B28BBEF5DF}" type="parTrans" cxnId="{CED455BF-5DA0-4637-A28C-71C9312C1FD5}">
      <dgm:prSet/>
      <dgm:spPr/>
      <dgm:t>
        <a:bodyPr/>
        <a:lstStyle/>
        <a:p>
          <a:endParaRPr lang="en-US"/>
        </a:p>
      </dgm:t>
    </dgm:pt>
    <dgm:pt modelId="{7F600405-1B5A-4CB3-BEB5-F354AB780968}" type="sibTrans" cxnId="{CED455BF-5DA0-4637-A28C-71C9312C1FD5}">
      <dgm:prSet/>
      <dgm:spPr/>
      <dgm:t>
        <a:bodyPr/>
        <a:lstStyle/>
        <a:p>
          <a:endParaRPr lang="en-US"/>
        </a:p>
      </dgm:t>
    </dgm:pt>
    <dgm:pt modelId="{F7ABFB8E-7CEC-4CB2-BAE9-B6CB6D296C3A}">
      <dgm:prSet/>
      <dgm:spPr/>
      <dgm:t>
        <a:bodyPr/>
        <a:lstStyle/>
        <a:p>
          <a:r>
            <a:rPr lang="en-US"/>
            <a:t>“Greediness” of the algorithm means it misses a lot</a:t>
          </a:r>
        </a:p>
      </dgm:t>
    </dgm:pt>
    <dgm:pt modelId="{D129504D-B99D-4D28-A384-B9A6813DB591}" type="parTrans" cxnId="{C994C222-F876-4961-99EB-37FC39DA8D02}">
      <dgm:prSet/>
      <dgm:spPr/>
      <dgm:t>
        <a:bodyPr/>
        <a:lstStyle/>
        <a:p>
          <a:endParaRPr lang="en-US"/>
        </a:p>
      </dgm:t>
    </dgm:pt>
    <dgm:pt modelId="{F6FB82F6-7095-408B-AB44-DA0A24BF8D42}" type="sibTrans" cxnId="{C994C222-F876-4961-99EB-37FC39DA8D02}">
      <dgm:prSet/>
      <dgm:spPr/>
      <dgm:t>
        <a:bodyPr/>
        <a:lstStyle/>
        <a:p>
          <a:endParaRPr lang="en-US"/>
        </a:p>
      </dgm:t>
    </dgm:pt>
    <dgm:pt modelId="{6DD59E13-8AC9-4091-89BE-1C7A802C7F97}">
      <dgm:prSet/>
      <dgm:spPr/>
      <dgm:t>
        <a:bodyPr/>
        <a:lstStyle/>
        <a:p>
          <a:r>
            <a:rPr lang="en-US"/>
            <a:t>Ensembles of weak learners can offer significant improvement</a:t>
          </a:r>
        </a:p>
      </dgm:t>
    </dgm:pt>
    <dgm:pt modelId="{6A2E1B84-BC49-4EF4-8D67-A2C9278D241C}" type="parTrans" cxnId="{19DCA3A6-256C-4B86-95B4-2C5283E690F6}">
      <dgm:prSet/>
      <dgm:spPr/>
      <dgm:t>
        <a:bodyPr/>
        <a:lstStyle/>
        <a:p>
          <a:endParaRPr lang="en-US"/>
        </a:p>
      </dgm:t>
    </dgm:pt>
    <dgm:pt modelId="{DA6AF438-F90D-4794-9439-04233ED3C1DA}" type="sibTrans" cxnId="{19DCA3A6-256C-4B86-95B4-2C5283E690F6}">
      <dgm:prSet/>
      <dgm:spPr/>
      <dgm:t>
        <a:bodyPr/>
        <a:lstStyle/>
        <a:p>
          <a:endParaRPr lang="en-US"/>
        </a:p>
      </dgm:t>
    </dgm:pt>
    <dgm:pt modelId="{FC01FE1F-472A-4B41-ACB6-BC75C18B8A14}">
      <dgm:prSet/>
      <dgm:spPr/>
      <dgm:t>
        <a:bodyPr/>
        <a:lstStyle/>
        <a:p>
          <a:r>
            <a:rPr lang="en-US"/>
            <a:t>Randomization can help uncover relationships masked by other variables</a:t>
          </a:r>
        </a:p>
      </dgm:t>
    </dgm:pt>
    <dgm:pt modelId="{54165543-0BFB-4447-9CC1-EACAA61509FC}" type="parTrans" cxnId="{0102F8AA-9E63-4931-9B8B-374965232B98}">
      <dgm:prSet/>
      <dgm:spPr/>
      <dgm:t>
        <a:bodyPr/>
        <a:lstStyle/>
        <a:p>
          <a:endParaRPr lang="en-US"/>
        </a:p>
      </dgm:t>
    </dgm:pt>
    <dgm:pt modelId="{5BA3249E-7D5B-445C-9686-BA5C5907256D}" type="sibTrans" cxnId="{0102F8AA-9E63-4931-9B8B-374965232B98}">
      <dgm:prSet/>
      <dgm:spPr/>
      <dgm:t>
        <a:bodyPr/>
        <a:lstStyle/>
        <a:p>
          <a:endParaRPr lang="en-US"/>
        </a:p>
      </dgm:t>
    </dgm:pt>
    <dgm:pt modelId="{4EA301AE-3BC6-438C-87C9-795104CABAD4}">
      <dgm:prSet/>
      <dgm:spPr/>
      <dgm:t>
        <a:bodyPr/>
        <a:lstStyle/>
        <a:p>
          <a:r>
            <a:rPr lang="en-US"/>
            <a:t>Random Forest substantially better than single tree</a:t>
          </a:r>
        </a:p>
      </dgm:t>
    </dgm:pt>
    <dgm:pt modelId="{CD7425FD-DFC3-4D27-AD42-CAFFC3330082}" type="parTrans" cxnId="{3D7F7D4B-1BBD-4AF6-9018-9210E2CC3BD6}">
      <dgm:prSet/>
      <dgm:spPr/>
      <dgm:t>
        <a:bodyPr/>
        <a:lstStyle/>
        <a:p>
          <a:endParaRPr lang="en-US"/>
        </a:p>
      </dgm:t>
    </dgm:pt>
    <dgm:pt modelId="{6BC80003-FA4B-49DE-9308-7ED415E618ED}" type="sibTrans" cxnId="{3D7F7D4B-1BBD-4AF6-9018-9210E2CC3BD6}">
      <dgm:prSet/>
      <dgm:spPr/>
      <dgm:t>
        <a:bodyPr/>
        <a:lstStyle/>
        <a:p>
          <a:endParaRPr lang="en-US"/>
        </a:p>
      </dgm:t>
    </dgm:pt>
    <dgm:pt modelId="{4B8E4C03-FC78-4FDC-9590-D3D6D06C38E4}">
      <dgm:prSet/>
      <dgm:spPr/>
      <dgm:t>
        <a:bodyPr/>
        <a:lstStyle/>
        <a:p>
          <a:r>
            <a:rPr lang="en-US"/>
            <a:t>Boosting can provide substantially improved predictive performance</a:t>
          </a:r>
        </a:p>
      </dgm:t>
    </dgm:pt>
    <dgm:pt modelId="{80F7C7D4-1B36-4D84-8466-3D50D9BDB9E5}" type="parTrans" cxnId="{3EA903B7-FC74-48FD-8293-703B84D73D6B}">
      <dgm:prSet/>
      <dgm:spPr/>
      <dgm:t>
        <a:bodyPr/>
        <a:lstStyle/>
        <a:p>
          <a:endParaRPr lang="en-US"/>
        </a:p>
      </dgm:t>
    </dgm:pt>
    <dgm:pt modelId="{11E6931B-BF9A-45EF-A086-42579222BF42}" type="sibTrans" cxnId="{3EA903B7-FC74-48FD-8293-703B84D73D6B}">
      <dgm:prSet/>
      <dgm:spPr/>
      <dgm:t>
        <a:bodyPr/>
        <a:lstStyle/>
        <a:p>
          <a:endParaRPr lang="en-US"/>
        </a:p>
      </dgm:t>
    </dgm:pt>
    <dgm:pt modelId="{9485C97C-FB22-425F-8076-FA5EC4521C9C}">
      <dgm:prSet/>
      <dgm:spPr/>
      <dgm:t>
        <a:bodyPr/>
        <a:lstStyle/>
        <a:p>
          <a:r>
            <a:rPr lang="en-US"/>
            <a:t>Learning from errors is a powerful concept</a:t>
          </a:r>
        </a:p>
      </dgm:t>
    </dgm:pt>
    <dgm:pt modelId="{062DBA27-56FE-4232-ADA9-4568BCB4D790}" type="parTrans" cxnId="{03DD6FB5-7966-4E1A-8EA0-CB362728AB0A}">
      <dgm:prSet/>
      <dgm:spPr/>
      <dgm:t>
        <a:bodyPr/>
        <a:lstStyle/>
        <a:p>
          <a:endParaRPr lang="en-US"/>
        </a:p>
      </dgm:t>
    </dgm:pt>
    <dgm:pt modelId="{E231F1A8-54D7-431E-9D98-6320D018FF7F}" type="sibTrans" cxnId="{03DD6FB5-7966-4E1A-8EA0-CB362728AB0A}">
      <dgm:prSet/>
      <dgm:spPr/>
      <dgm:t>
        <a:bodyPr/>
        <a:lstStyle/>
        <a:p>
          <a:endParaRPr lang="en-US"/>
        </a:p>
      </dgm:t>
    </dgm:pt>
    <dgm:pt modelId="{FB2AE9E9-FAAE-4CF9-BC8D-7E7023FB600E}">
      <dgm:prSet/>
      <dgm:spPr/>
      <dgm:t>
        <a:bodyPr/>
        <a:lstStyle/>
        <a:p>
          <a:r>
            <a:rPr lang="en-US"/>
            <a:t>But it still requires work – and isn’t a “magic bullet”</a:t>
          </a:r>
        </a:p>
      </dgm:t>
    </dgm:pt>
    <dgm:pt modelId="{13433985-FA9E-4920-818D-64A5C0F2DE4D}" type="parTrans" cxnId="{575D72DE-25B7-4BC5-82D7-5E7FA5BA8D20}">
      <dgm:prSet/>
      <dgm:spPr/>
      <dgm:t>
        <a:bodyPr/>
        <a:lstStyle/>
        <a:p>
          <a:endParaRPr lang="en-US"/>
        </a:p>
      </dgm:t>
    </dgm:pt>
    <dgm:pt modelId="{18B26482-820B-4D56-975D-B238B1E67C91}" type="sibTrans" cxnId="{575D72DE-25B7-4BC5-82D7-5E7FA5BA8D20}">
      <dgm:prSet/>
      <dgm:spPr/>
      <dgm:t>
        <a:bodyPr/>
        <a:lstStyle/>
        <a:p>
          <a:endParaRPr lang="en-US"/>
        </a:p>
      </dgm:t>
    </dgm:pt>
    <dgm:pt modelId="{2E58AB2A-0B56-4E21-AC34-7ADF7CB39C2F}" type="pres">
      <dgm:prSet presAssocID="{392FB47B-E9F1-4CC6-B533-FF8FFD3FD698}" presName="Name0" presStyleCnt="0">
        <dgm:presLayoutVars>
          <dgm:dir/>
          <dgm:animLvl val="lvl"/>
          <dgm:resizeHandles val="exact"/>
        </dgm:presLayoutVars>
      </dgm:prSet>
      <dgm:spPr/>
    </dgm:pt>
    <dgm:pt modelId="{40D271C2-324F-47BE-9FC4-DECAD2AD01C9}" type="pres">
      <dgm:prSet presAssocID="{66270F19-AA7A-41E5-A9B8-E51F0FBA1D87}" presName="composite" presStyleCnt="0"/>
      <dgm:spPr/>
    </dgm:pt>
    <dgm:pt modelId="{0867F34A-D745-4509-9539-DBA20E5A647F}" type="pres">
      <dgm:prSet presAssocID="{66270F19-AA7A-41E5-A9B8-E51F0FBA1D87}" presName="parTx" presStyleLbl="alignNode1" presStyleIdx="0" presStyleCnt="4">
        <dgm:presLayoutVars>
          <dgm:chMax val="0"/>
          <dgm:chPref val="0"/>
          <dgm:bulletEnabled val="1"/>
        </dgm:presLayoutVars>
      </dgm:prSet>
      <dgm:spPr/>
    </dgm:pt>
    <dgm:pt modelId="{84E45724-3706-4839-99C7-82D8E18BA389}" type="pres">
      <dgm:prSet presAssocID="{66270F19-AA7A-41E5-A9B8-E51F0FBA1D87}" presName="desTx" presStyleLbl="alignAccFollowNode1" presStyleIdx="0" presStyleCnt="4">
        <dgm:presLayoutVars>
          <dgm:bulletEnabled val="1"/>
        </dgm:presLayoutVars>
      </dgm:prSet>
      <dgm:spPr/>
    </dgm:pt>
    <dgm:pt modelId="{B00CFEBC-00E4-4D42-8ECB-FF555A13BC75}" type="pres">
      <dgm:prSet presAssocID="{279C66AA-159E-4065-BE08-7DB704E12917}" presName="space" presStyleCnt="0"/>
      <dgm:spPr/>
    </dgm:pt>
    <dgm:pt modelId="{5ECF1A2F-AC7B-46DE-AC70-0352DF71DF70}" type="pres">
      <dgm:prSet presAssocID="{B93AE55D-4955-4C29-A274-9436F23F871D}" presName="composite" presStyleCnt="0"/>
      <dgm:spPr/>
    </dgm:pt>
    <dgm:pt modelId="{2106988D-2047-4AC5-9761-F788A757157A}" type="pres">
      <dgm:prSet presAssocID="{B93AE55D-4955-4C29-A274-9436F23F871D}" presName="parTx" presStyleLbl="alignNode1" presStyleIdx="1" presStyleCnt="4">
        <dgm:presLayoutVars>
          <dgm:chMax val="0"/>
          <dgm:chPref val="0"/>
          <dgm:bulletEnabled val="1"/>
        </dgm:presLayoutVars>
      </dgm:prSet>
      <dgm:spPr/>
    </dgm:pt>
    <dgm:pt modelId="{8F54DFB3-292B-4315-BFC7-62B6DABB3D60}" type="pres">
      <dgm:prSet presAssocID="{B93AE55D-4955-4C29-A274-9436F23F871D}" presName="desTx" presStyleLbl="alignAccFollowNode1" presStyleIdx="1" presStyleCnt="4">
        <dgm:presLayoutVars>
          <dgm:bulletEnabled val="1"/>
        </dgm:presLayoutVars>
      </dgm:prSet>
      <dgm:spPr/>
    </dgm:pt>
    <dgm:pt modelId="{DFA0F59D-B5CF-45AD-A3CE-33F4D4293BEA}" type="pres">
      <dgm:prSet presAssocID="{92F45FFC-3A06-4798-952F-01F54F4F6763}" presName="space" presStyleCnt="0"/>
      <dgm:spPr/>
    </dgm:pt>
    <dgm:pt modelId="{63B7143B-DD6C-41F7-87D4-4D09E407346F}" type="pres">
      <dgm:prSet presAssocID="{6DD59E13-8AC9-4091-89BE-1C7A802C7F97}" presName="composite" presStyleCnt="0"/>
      <dgm:spPr/>
    </dgm:pt>
    <dgm:pt modelId="{F9267D3C-D528-4AAB-BC76-832F72D99633}" type="pres">
      <dgm:prSet presAssocID="{6DD59E13-8AC9-4091-89BE-1C7A802C7F97}" presName="parTx" presStyleLbl="alignNode1" presStyleIdx="2" presStyleCnt="4">
        <dgm:presLayoutVars>
          <dgm:chMax val="0"/>
          <dgm:chPref val="0"/>
          <dgm:bulletEnabled val="1"/>
        </dgm:presLayoutVars>
      </dgm:prSet>
      <dgm:spPr/>
    </dgm:pt>
    <dgm:pt modelId="{E3C23748-2A5F-49D2-8155-3D52CADBCF62}" type="pres">
      <dgm:prSet presAssocID="{6DD59E13-8AC9-4091-89BE-1C7A802C7F97}" presName="desTx" presStyleLbl="alignAccFollowNode1" presStyleIdx="2" presStyleCnt="4">
        <dgm:presLayoutVars>
          <dgm:bulletEnabled val="1"/>
        </dgm:presLayoutVars>
      </dgm:prSet>
      <dgm:spPr/>
    </dgm:pt>
    <dgm:pt modelId="{28C24EE1-A4B8-4E5C-A3EC-E49F9D80AEBF}" type="pres">
      <dgm:prSet presAssocID="{DA6AF438-F90D-4794-9439-04233ED3C1DA}" presName="space" presStyleCnt="0"/>
      <dgm:spPr/>
    </dgm:pt>
    <dgm:pt modelId="{697F0E97-8497-4AAF-8976-72A3AC7C581A}" type="pres">
      <dgm:prSet presAssocID="{4B8E4C03-FC78-4FDC-9590-D3D6D06C38E4}" presName="composite" presStyleCnt="0"/>
      <dgm:spPr/>
    </dgm:pt>
    <dgm:pt modelId="{E46AC972-0FE6-4E29-BCFA-B0A2A2FBC6FD}" type="pres">
      <dgm:prSet presAssocID="{4B8E4C03-FC78-4FDC-9590-D3D6D06C38E4}" presName="parTx" presStyleLbl="alignNode1" presStyleIdx="3" presStyleCnt="4">
        <dgm:presLayoutVars>
          <dgm:chMax val="0"/>
          <dgm:chPref val="0"/>
          <dgm:bulletEnabled val="1"/>
        </dgm:presLayoutVars>
      </dgm:prSet>
      <dgm:spPr/>
    </dgm:pt>
    <dgm:pt modelId="{2E2B1F90-4C0F-4EF2-A755-C1D538418E82}" type="pres">
      <dgm:prSet presAssocID="{4B8E4C03-FC78-4FDC-9590-D3D6D06C38E4}" presName="desTx" presStyleLbl="alignAccFollowNode1" presStyleIdx="3" presStyleCnt="4">
        <dgm:presLayoutVars>
          <dgm:bulletEnabled val="1"/>
        </dgm:presLayoutVars>
      </dgm:prSet>
      <dgm:spPr/>
    </dgm:pt>
  </dgm:ptLst>
  <dgm:cxnLst>
    <dgm:cxn modelId="{FC21E607-D5B7-47BB-8867-51A780DFA887}" srcId="{392FB47B-E9F1-4CC6-B533-FF8FFD3FD698}" destId="{66270F19-AA7A-41E5-A9B8-E51F0FBA1D87}" srcOrd="0" destOrd="0" parTransId="{13F59EFE-2544-4AA7-9A1B-2722D7B7A757}" sibTransId="{279C66AA-159E-4065-BE08-7DB704E12917}"/>
    <dgm:cxn modelId="{F01F260A-1B0A-467D-AB38-D6AD60EB46F4}" type="presOf" srcId="{392FB47B-E9F1-4CC6-B533-FF8FFD3FD698}" destId="{2E58AB2A-0B56-4E21-AC34-7ADF7CB39C2F}" srcOrd="0" destOrd="0" presId="urn:microsoft.com/office/officeart/2005/8/layout/hList1"/>
    <dgm:cxn modelId="{AF5B381A-3E90-4F95-BEC1-E8B22F2CD5EF}" type="presOf" srcId="{B93AE55D-4955-4C29-A274-9436F23F871D}" destId="{2106988D-2047-4AC5-9761-F788A757157A}" srcOrd="0" destOrd="0" presId="urn:microsoft.com/office/officeart/2005/8/layout/hList1"/>
    <dgm:cxn modelId="{DA3A2E1C-B5BB-4D9E-BC5B-8E577227770B}" type="presOf" srcId="{9CE9F36B-34D5-4627-89B2-8D9850ADE49C}" destId="{84E45724-3706-4839-99C7-82D8E18BA389}" srcOrd="0" destOrd="1" presId="urn:microsoft.com/office/officeart/2005/8/layout/hList1"/>
    <dgm:cxn modelId="{C994C222-F876-4961-99EB-37FC39DA8D02}" srcId="{B93AE55D-4955-4C29-A274-9436F23F871D}" destId="{F7ABFB8E-7CEC-4CB2-BAE9-B6CB6D296C3A}" srcOrd="1" destOrd="0" parTransId="{D129504D-B99D-4D28-A384-B9A6813DB591}" sibTransId="{F6FB82F6-7095-408B-AB44-DA0A24BF8D42}"/>
    <dgm:cxn modelId="{4E2CA165-55EE-434B-9777-DB28B3A728D8}" type="presOf" srcId="{66270F19-AA7A-41E5-A9B8-E51F0FBA1D87}" destId="{0867F34A-D745-4509-9539-DBA20E5A647F}" srcOrd="0" destOrd="0" presId="urn:microsoft.com/office/officeart/2005/8/layout/hList1"/>
    <dgm:cxn modelId="{725FDE49-8406-4827-B31D-2C418A37DDF6}" type="presOf" srcId="{FB2AE9E9-FAAE-4CF9-BC8D-7E7023FB600E}" destId="{2E2B1F90-4C0F-4EF2-A755-C1D538418E82}" srcOrd="0" destOrd="1" presId="urn:microsoft.com/office/officeart/2005/8/layout/hList1"/>
    <dgm:cxn modelId="{3D7F7D4B-1BBD-4AF6-9018-9210E2CC3BD6}" srcId="{6DD59E13-8AC9-4091-89BE-1C7A802C7F97}" destId="{4EA301AE-3BC6-438C-87C9-795104CABAD4}" srcOrd="1" destOrd="0" parTransId="{CD7425FD-DFC3-4D27-AD42-CAFFC3330082}" sibTransId="{6BC80003-FA4B-49DE-9308-7ED415E618ED}"/>
    <dgm:cxn modelId="{1524F64F-6329-4369-94B9-D603D302791A}" type="presOf" srcId="{FC01FE1F-472A-4B41-ACB6-BC75C18B8A14}" destId="{E3C23748-2A5F-49D2-8155-3D52CADBCF62}" srcOrd="0" destOrd="0" presId="urn:microsoft.com/office/officeart/2005/8/layout/hList1"/>
    <dgm:cxn modelId="{C3235458-94F3-4962-88B6-B788FDE5A19A}" srcId="{392FB47B-E9F1-4CC6-B533-FF8FFD3FD698}" destId="{B93AE55D-4955-4C29-A274-9436F23F871D}" srcOrd="1" destOrd="0" parTransId="{2C3F679F-171B-41C6-836B-A2DAF62B84C7}" sibTransId="{92F45FFC-3A06-4798-952F-01F54F4F6763}"/>
    <dgm:cxn modelId="{2703CC78-EAA2-4ACB-93A8-ABF013B4CDFF}" type="presOf" srcId="{DCFE7CDA-E687-40B7-AA4B-EA960D9FB7D2}" destId="{84E45724-3706-4839-99C7-82D8E18BA389}" srcOrd="0" destOrd="0" presId="urn:microsoft.com/office/officeart/2005/8/layout/hList1"/>
    <dgm:cxn modelId="{1EF1767C-D572-4FFD-A221-204D87E8DDF1}" type="presOf" srcId="{F7ABFB8E-7CEC-4CB2-BAE9-B6CB6D296C3A}" destId="{8F54DFB3-292B-4315-BFC7-62B6DABB3D60}" srcOrd="0" destOrd="1" presId="urn:microsoft.com/office/officeart/2005/8/layout/hList1"/>
    <dgm:cxn modelId="{9F131D8B-EDD0-491D-95FF-FF8F2C3784A4}" type="presOf" srcId="{9485C97C-FB22-425F-8076-FA5EC4521C9C}" destId="{2E2B1F90-4C0F-4EF2-A755-C1D538418E82}" srcOrd="0" destOrd="0" presId="urn:microsoft.com/office/officeart/2005/8/layout/hList1"/>
    <dgm:cxn modelId="{A8BF759C-5318-45D2-B0AD-98A730EC64DE}" type="presOf" srcId="{6DD59E13-8AC9-4091-89BE-1C7A802C7F97}" destId="{F9267D3C-D528-4AAB-BC76-832F72D99633}" srcOrd="0" destOrd="0" presId="urn:microsoft.com/office/officeart/2005/8/layout/hList1"/>
    <dgm:cxn modelId="{51845EA4-C718-49A9-9A2A-33FA280CD928}" type="presOf" srcId="{4EA301AE-3BC6-438C-87C9-795104CABAD4}" destId="{E3C23748-2A5F-49D2-8155-3D52CADBCF62}" srcOrd="0" destOrd="1" presId="urn:microsoft.com/office/officeart/2005/8/layout/hList1"/>
    <dgm:cxn modelId="{19DCA3A6-256C-4B86-95B4-2C5283E690F6}" srcId="{392FB47B-E9F1-4CC6-B533-FF8FFD3FD698}" destId="{6DD59E13-8AC9-4091-89BE-1C7A802C7F97}" srcOrd="2" destOrd="0" parTransId="{6A2E1B84-BC49-4EF4-8D67-A2C9278D241C}" sibTransId="{DA6AF438-F90D-4794-9439-04233ED3C1DA}"/>
    <dgm:cxn modelId="{7B80F6AA-F362-4205-8B3C-923C129321AD}" srcId="{66270F19-AA7A-41E5-A9B8-E51F0FBA1D87}" destId="{9CE9F36B-34D5-4627-89B2-8D9850ADE49C}" srcOrd="1" destOrd="0" parTransId="{2CE7AF87-045C-4AD2-AE1F-6FC7836B511B}" sibTransId="{77954907-2FCE-44F2-AEB8-B8E5563FE5B9}"/>
    <dgm:cxn modelId="{0102F8AA-9E63-4931-9B8B-374965232B98}" srcId="{6DD59E13-8AC9-4091-89BE-1C7A802C7F97}" destId="{FC01FE1F-472A-4B41-ACB6-BC75C18B8A14}" srcOrd="0" destOrd="0" parTransId="{54165543-0BFB-4447-9CC1-EACAA61509FC}" sibTransId="{5BA3249E-7D5B-445C-9686-BA5C5907256D}"/>
    <dgm:cxn modelId="{03DD6FB5-7966-4E1A-8EA0-CB362728AB0A}" srcId="{4B8E4C03-FC78-4FDC-9590-D3D6D06C38E4}" destId="{9485C97C-FB22-425F-8076-FA5EC4521C9C}" srcOrd="0" destOrd="0" parTransId="{062DBA27-56FE-4232-ADA9-4568BCB4D790}" sibTransId="{E231F1A8-54D7-431E-9D98-6320D018FF7F}"/>
    <dgm:cxn modelId="{3EA903B7-FC74-48FD-8293-703B84D73D6B}" srcId="{392FB47B-E9F1-4CC6-B533-FF8FFD3FD698}" destId="{4B8E4C03-FC78-4FDC-9590-D3D6D06C38E4}" srcOrd="3" destOrd="0" parTransId="{80F7C7D4-1B36-4D84-8466-3D50D9BDB9E5}" sibTransId="{11E6931B-BF9A-45EF-A086-42579222BF42}"/>
    <dgm:cxn modelId="{CED455BF-5DA0-4637-A28C-71C9312C1FD5}" srcId="{B93AE55D-4955-4C29-A274-9436F23F871D}" destId="{0B09E2A5-B1A5-45E7-820F-CBE383ED9DC5}" srcOrd="0" destOrd="0" parTransId="{02DEDE92-7752-409B-A19F-96B28BBEF5DF}" sibTransId="{7F600405-1B5A-4CB3-BEB5-F354AB780968}"/>
    <dgm:cxn modelId="{19414DD5-D54F-498E-94D2-57FC164CAE64}" type="presOf" srcId="{0B09E2A5-B1A5-45E7-820F-CBE383ED9DC5}" destId="{8F54DFB3-292B-4315-BFC7-62B6DABB3D60}" srcOrd="0" destOrd="0" presId="urn:microsoft.com/office/officeart/2005/8/layout/hList1"/>
    <dgm:cxn modelId="{575D72DE-25B7-4BC5-82D7-5E7FA5BA8D20}" srcId="{4B8E4C03-FC78-4FDC-9590-D3D6D06C38E4}" destId="{FB2AE9E9-FAAE-4CF9-BC8D-7E7023FB600E}" srcOrd="1" destOrd="0" parTransId="{13433985-FA9E-4920-818D-64A5C0F2DE4D}" sibTransId="{18B26482-820B-4D56-975D-B238B1E67C91}"/>
    <dgm:cxn modelId="{0D1C2DE7-915A-4915-958D-7A6FFAF62B8F}" type="presOf" srcId="{4B8E4C03-FC78-4FDC-9590-D3D6D06C38E4}" destId="{E46AC972-0FE6-4E29-BCFA-B0A2A2FBC6FD}" srcOrd="0" destOrd="0" presId="urn:microsoft.com/office/officeart/2005/8/layout/hList1"/>
    <dgm:cxn modelId="{C1A6B6EA-5BD8-43DE-BE6C-2EB5F3A97E70}" srcId="{66270F19-AA7A-41E5-A9B8-E51F0FBA1D87}" destId="{DCFE7CDA-E687-40B7-AA4B-EA960D9FB7D2}" srcOrd="0" destOrd="0" parTransId="{C09C8973-3ED5-495C-8048-BC6919BBE22D}" sibTransId="{DAB2B878-AF73-45D1-BB48-539405287F2D}"/>
    <dgm:cxn modelId="{61F483F5-4E49-4775-9B06-2AFC5C9D4198}" type="presParOf" srcId="{2E58AB2A-0B56-4E21-AC34-7ADF7CB39C2F}" destId="{40D271C2-324F-47BE-9FC4-DECAD2AD01C9}" srcOrd="0" destOrd="0" presId="urn:microsoft.com/office/officeart/2005/8/layout/hList1"/>
    <dgm:cxn modelId="{CAC86C3E-21C2-41F3-A74D-96882306C703}" type="presParOf" srcId="{40D271C2-324F-47BE-9FC4-DECAD2AD01C9}" destId="{0867F34A-D745-4509-9539-DBA20E5A647F}" srcOrd="0" destOrd="0" presId="urn:microsoft.com/office/officeart/2005/8/layout/hList1"/>
    <dgm:cxn modelId="{74996253-25F6-4D34-A54D-8A5E63F5315D}" type="presParOf" srcId="{40D271C2-324F-47BE-9FC4-DECAD2AD01C9}" destId="{84E45724-3706-4839-99C7-82D8E18BA389}" srcOrd="1" destOrd="0" presId="urn:microsoft.com/office/officeart/2005/8/layout/hList1"/>
    <dgm:cxn modelId="{8550FC58-6B65-4E11-8EEE-998B011EEE79}" type="presParOf" srcId="{2E58AB2A-0B56-4E21-AC34-7ADF7CB39C2F}" destId="{B00CFEBC-00E4-4D42-8ECB-FF555A13BC75}" srcOrd="1" destOrd="0" presId="urn:microsoft.com/office/officeart/2005/8/layout/hList1"/>
    <dgm:cxn modelId="{A57F78EF-4109-4E79-9970-924E7F46095F}" type="presParOf" srcId="{2E58AB2A-0B56-4E21-AC34-7ADF7CB39C2F}" destId="{5ECF1A2F-AC7B-46DE-AC70-0352DF71DF70}" srcOrd="2" destOrd="0" presId="urn:microsoft.com/office/officeart/2005/8/layout/hList1"/>
    <dgm:cxn modelId="{86C8609F-CA99-4956-B211-1E0CC5D9C0C3}" type="presParOf" srcId="{5ECF1A2F-AC7B-46DE-AC70-0352DF71DF70}" destId="{2106988D-2047-4AC5-9761-F788A757157A}" srcOrd="0" destOrd="0" presId="urn:microsoft.com/office/officeart/2005/8/layout/hList1"/>
    <dgm:cxn modelId="{7628B033-F9B9-4AE5-AD4A-D318FE9502E9}" type="presParOf" srcId="{5ECF1A2F-AC7B-46DE-AC70-0352DF71DF70}" destId="{8F54DFB3-292B-4315-BFC7-62B6DABB3D60}" srcOrd="1" destOrd="0" presId="urn:microsoft.com/office/officeart/2005/8/layout/hList1"/>
    <dgm:cxn modelId="{8A7CAEF8-E26F-4430-AA6C-360B62C0BB78}" type="presParOf" srcId="{2E58AB2A-0B56-4E21-AC34-7ADF7CB39C2F}" destId="{DFA0F59D-B5CF-45AD-A3CE-33F4D4293BEA}" srcOrd="3" destOrd="0" presId="urn:microsoft.com/office/officeart/2005/8/layout/hList1"/>
    <dgm:cxn modelId="{732285FE-9166-4943-A1A9-C74BF6DDCFC5}" type="presParOf" srcId="{2E58AB2A-0B56-4E21-AC34-7ADF7CB39C2F}" destId="{63B7143B-DD6C-41F7-87D4-4D09E407346F}" srcOrd="4" destOrd="0" presId="urn:microsoft.com/office/officeart/2005/8/layout/hList1"/>
    <dgm:cxn modelId="{98BC5BE6-DBD1-4679-97D2-BBD67987EFD2}" type="presParOf" srcId="{63B7143B-DD6C-41F7-87D4-4D09E407346F}" destId="{F9267D3C-D528-4AAB-BC76-832F72D99633}" srcOrd="0" destOrd="0" presId="urn:microsoft.com/office/officeart/2005/8/layout/hList1"/>
    <dgm:cxn modelId="{60BF3C7C-4F20-4D01-9336-E0E963DA1012}" type="presParOf" srcId="{63B7143B-DD6C-41F7-87D4-4D09E407346F}" destId="{E3C23748-2A5F-49D2-8155-3D52CADBCF62}" srcOrd="1" destOrd="0" presId="urn:microsoft.com/office/officeart/2005/8/layout/hList1"/>
    <dgm:cxn modelId="{44974467-E6DA-4B1D-8FFB-120C9A3C62FD}" type="presParOf" srcId="{2E58AB2A-0B56-4E21-AC34-7ADF7CB39C2F}" destId="{28C24EE1-A4B8-4E5C-A3EC-E49F9D80AEBF}" srcOrd="5" destOrd="0" presId="urn:microsoft.com/office/officeart/2005/8/layout/hList1"/>
    <dgm:cxn modelId="{57C923F0-6B4A-412F-91BB-EBF661FEF366}" type="presParOf" srcId="{2E58AB2A-0B56-4E21-AC34-7ADF7CB39C2F}" destId="{697F0E97-8497-4AAF-8976-72A3AC7C581A}" srcOrd="6" destOrd="0" presId="urn:microsoft.com/office/officeart/2005/8/layout/hList1"/>
    <dgm:cxn modelId="{678FB449-0F72-4F66-A342-765454B67F30}" type="presParOf" srcId="{697F0E97-8497-4AAF-8976-72A3AC7C581A}" destId="{E46AC972-0FE6-4E29-BCFA-B0A2A2FBC6FD}" srcOrd="0" destOrd="0" presId="urn:microsoft.com/office/officeart/2005/8/layout/hList1"/>
    <dgm:cxn modelId="{B780598E-1BF9-4103-B9CD-8F512487519C}" type="presParOf" srcId="{697F0E97-8497-4AAF-8976-72A3AC7C581A}" destId="{2E2B1F90-4C0F-4EF2-A755-C1D538418E8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7B75F2-2A58-490D-B708-1BA67EC58FF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AB6824F-7BB4-492B-AF83-9FDB6C390A72}">
      <dgm:prSet custT="1"/>
      <dgm:spPr/>
      <dgm:t>
        <a:bodyPr/>
        <a:lstStyle/>
        <a:p>
          <a:r>
            <a:rPr lang="en-US" sz="2000"/>
            <a:t>As the number of predictors (dimensions of X) increases, any given sample’s coverage of the whole space of X becomes sparse</a:t>
          </a:r>
        </a:p>
      </dgm:t>
    </dgm:pt>
    <dgm:pt modelId="{D59F8C62-BCEC-4998-90CC-7E14E167705F}" type="parTrans" cxnId="{6803026E-0450-4248-80B4-998929A57856}">
      <dgm:prSet/>
      <dgm:spPr/>
      <dgm:t>
        <a:bodyPr/>
        <a:lstStyle/>
        <a:p>
          <a:endParaRPr lang="en-US"/>
        </a:p>
      </dgm:t>
    </dgm:pt>
    <dgm:pt modelId="{3A03C5A3-26E6-49AF-933B-915713122D9A}" type="sibTrans" cxnId="{6803026E-0450-4248-80B4-998929A57856}">
      <dgm:prSet/>
      <dgm:spPr/>
      <dgm:t>
        <a:bodyPr/>
        <a:lstStyle/>
        <a:p>
          <a:endParaRPr lang="en-US"/>
        </a:p>
      </dgm:t>
    </dgm:pt>
    <dgm:pt modelId="{B88F9B33-E8CC-4124-B56D-9234BC412552}">
      <dgm:prSet/>
      <dgm:spPr/>
      <dgm:t>
        <a:bodyPr/>
        <a:lstStyle/>
        <a:p>
          <a:r>
            <a:rPr lang="en-US"/>
            <a:t>Observations that appear similar based on our limited view of X may actually be very dissimilar</a:t>
          </a:r>
        </a:p>
      </dgm:t>
    </dgm:pt>
    <dgm:pt modelId="{36B40967-0943-4454-A9BD-D9C10D42E402}" type="parTrans" cxnId="{5069C79B-833A-44E8-8F3A-59759695AA14}">
      <dgm:prSet/>
      <dgm:spPr/>
      <dgm:t>
        <a:bodyPr/>
        <a:lstStyle/>
        <a:p>
          <a:endParaRPr lang="en-US"/>
        </a:p>
      </dgm:t>
    </dgm:pt>
    <dgm:pt modelId="{AF904C98-6DC8-4ADE-B084-A530827FDAD5}" type="sibTrans" cxnId="{5069C79B-833A-44E8-8F3A-59759695AA14}">
      <dgm:prSet/>
      <dgm:spPr/>
      <dgm:t>
        <a:bodyPr/>
        <a:lstStyle/>
        <a:p>
          <a:endParaRPr lang="en-US"/>
        </a:p>
      </dgm:t>
    </dgm:pt>
    <dgm:pt modelId="{116DC9EA-5856-4FD4-8C28-80E339320FCB}">
      <dgm:prSet/>
      <dgm:spPr/>
      <dgm:t>
        <a:bodyPr/>
        <a:lstStyle/>
        <a:p>
          <a:r>
            <a:rPr lang="en-US" dirty="0"/>
            <a:t>If we “broaden our view” to produce general predictions applicable across the whole space of X, say by fitting a line or a (hyper-)plane, we will systematically over-predict or under-predict (bias) for some subsets of X.</a:t>
          </a:r>
        </a:p>
      </dgm:t>
    </dgm:pt>
    <dgm:pt modelId="{988A8A51-4711-4B0F-BA79-E2512863CBA3}" type="parTrans" cxnId="{8C6435C4-EA11-44CE-87E8-0FA8B659A7C2}">
      <dgm:prSet/>
      <dgm:spPr/>
      <dgm:t>
        <a:bodyPr/>
        <a:lstStyle/>
        <a:p>
          <a:endParaRPr lang="en-US"/>
        </a:p>
      </dgm:t>
    </dgm:pt>
    <dgm:pt modelId="{E1A15165-3676-4BEF-8C0F-CA914A9D790F}" type="sibTrans" cxnId="{8C6435C4-EA11-44CE-87E8-0FA8B659A7C2}">
      <dgm:prSet/>
      <dgm:spPr/>
      <dgm:t>
        <a:bodyPr/>
        <a:lstStyle/>
        <a:p>
          <a:endParaRPr lang="en-US"/>
        </a:p>
      </dgm:t>
    </dgm:pt>
    <dgm:pt modelId="{442E55BA-1F55-480F-B93C-1BE9EF4D449F}">
      <dgm:prSet/>
      <dgm:spPr/>
      <dgm:t>
        <a:bodyPr/>
        <a:lstStyle/>
        <a:p>
          <a:r>
            <a:rPr lang="en-US" dirty="0"/>
            <a:t>If we “narrow our view” to produce very specific predictions tailor-made for subsets of X, those estimates may jump around substantially from sample to sample.</a:t>
          </a:r>
        </a:p>
      </dgm:t>
    </dgm:pt>
    <dgm:pt modelId="{553B4818-137C-4D5A-9E47-B51F8CD88303}" type="parTrans" cxnId="{1167A79C-7D2B-4590-B6F5-A80D7E27CA2E}">
      <dgm:prSet/>
      <dgm:spPr/>
      <dgm:t>
        <a:bodyPr/>
        <a:lstStyle/>
        <a:p>
          <a:endParaRPr lang="en-US"/>
        </a:p>
      </dgm:t>
    </dgm:pt>
    <dgm:pt modelId="{3F6B08E6-AC38-4303-8EAC-8A3411288FD7}" type="sibTrans" cxnId="{1167A79C-7D2B-4590-B6F5-A80D7E27CA2E}">
      <dgm:prSet/>
      <dgm:spPr/>
      <dgm:t>
        <a:bodyPr/>
        <a:lstStyle/>
        <a:p>
          <a:endParaRPr lang="en-US"/>
        </a:p>
      </dgm:t>
    </dgm:pt>
    <dgm:pt modelId="{9ADC01C8-08A9-4C26-B67F-7F00658FD3C5}" type="pres">
      <dgm:prSet presAssocID="{BE7B75F2-2A58-490D-B708-1BA67EC58FF7}" presName="Name0" presStyleCnt="0">
        <dgm:presLayoutVars>
          <dgm:dir/>
          <dgm:animLvl val="lvl"/>
          <dgm:resizeHandles val="exact"/>
        </dgm:presLayoutVars>
      </dgm:prSet>
      <dgm:spPr/>
    </dgm:pt>
    <dgm:pt modelId="{7D2F743D-0B7D-4F38-A300-C2F16AC99C2B}" type="pres">
      <dgm:prSet presAssocID="{BAB6824F-7BB4-492B-AF83-9FDB6C390A72}" presName="linNode" presStyleCnt="0"/>
      <dgm:spPr/>
    </dgm:pt>
    <dgm:pt modelId="{B9F0E0F7-948B-451E-BA93-E6FBB8504649}" type="pres">
      <dgm:prSet presAssocID="{BAB6824F-7BB4-492B-AF83-9FDB6C390A72}" presName="parentText" presStyleLbl="node1" presStyleIdx="0" presStyleCnt="1" custScaleX="107114">
        <dgm:presLayoutVars>
          <dgm:chMax val="1"/>
          <dgm:bulletEnabled val="1"/>
        </dgm:presLayoutVars>
      </dgm:prSet>
      <dgm:spPr/>
    </dgm:pt>
    <dgm:pt modelId="{6FB983E1-E412-4420-92A5-59A81BFE9286}" type="pres">
      <dgm:prSet presAssocID="{BAB6824F-7BB4-492B-AF83-9FDB6C390A72}" presName="descendantText" presStyleLbl="alignAccFollowNode1" presStyleIdx="0" presStyleCnt="1" custScaleY="109528">
        <dgm:presLayoutVars>
          <dgm:bulletEnabled val="1"/>
        </dgm:presLayoutVars>
      </dgm:prSet>
      <dgm:spPr/>
    </dgm:pt>
  </dgm:ptLst>
  <dgm:cxnLst>
    <dgm:cxn modelId="{6803026E-0450-4248-80B4-998929A57856}" srcId="{BE7B75F2-2A58-490D-B708-1BA67EC58FF7}" destId="{BAB6824F-7BB4-492B-AF83-9FDB6C390A72}" srcOrd="0" destOrd="0" parTransId="{D59F8C62-BCEC-4998-90CC-7E14E167705F}" sibTransId="{3A03C5A3-26E6-49AF-933B-915713122D9A}"/>
    <dgm:cxn modelId="{5069C79B-833A-44E8-8F3A-59759695AA14}" srcId="{BAB6824F-7BB4-492B-AF83-9FDB6C390A72}" destId="{B88F9B33-E8CC-4124-B56D-9234BC412552}" srcOrd="0" destOrd="0" parTransId="{36B40967-0943-4454-A9BD-D9C10D42E402}" sibTransId="{AF904C98-6DC8-4ADE-B084-A530827FDAD5}"/>
    <dgm:cxn modelId="{1167A79C-7D2B-4590-B6F5-A80D7E27CA2E}" srcId="{BAB6824F-7BB4-492B-AF83-9FDB6C390A72}" destId="{442E55BA-1F55-480F-B93C-1BE9EF4D449F}" srcOrd="2" destOrd="0" parTransId="{553B4818-137C-4D5A-9E47-B51F8CD88303}" sibTransId="{3F6B08E6-AC38-4303-8EAC-8A3411288FD7}"/>
    <dgm:cxn modelId="{D8EF1AC2-C7AF-435D-A194-AA299FEBFB31}" type="presOf" srcId="{116DC9EA-5856-4FD4-8C28-80E339320FCB}" destId="{6FB983E1-E412-4420-92A5-59A81BFE9286}" srcOrd="0" destOrd="1" presId="urn:microsoft.com/office/officeart/2005/8/layout/vList5"/>
    <dgm:cxn modelId="{8C6435C4-EA11-44CE-87E8-0FA8B659A7C2}" srcId="{BAB6824F-7BB4-492B-AF83-9FDB6C390A72}" destId="{116DC9EA-5856-4FD4-8C28-80E339320FCB}" srcOrd="1" destOrd="0" parTransId="{988A8A51-4711-4B0F-BA79-E2512863CBA3}" sibTransId="{E1A15165-3676-4BEF-8C0F-CA914A9D790F}"/>
    <dgm:cxn modelId="{DBC1E0D7-3D56-408B-868B-D3E85FB250C2}" type="presOf" srcId="{B88F9B33-E8CC-4124-B56D-9234BC412552}" destId="{6FB983E1-E412-4420-92A5-59A81BFE9286}" srcOrd="0" destOrd="0" presId="urn:microsoft.com/office/officeart/2005/8/layout/vList5"/>
    <dgm:cxn modelId="{7464E0DF-D626-4BA8-8F50-A1063A288546}" type="presOf" srcId="{442E55BA-1F55-480F-B93C-1BE9EF4D449F}" destId="{6FB983E1-E412-4420-92A5-59A81BFE9286}" srcOrd="0" destOrd="2" presId="urn:microsoft.com/office/officeart/2005/8/layout/vList5"/>
    <dgm:cxn modelId="{312104F7-2272-4556-A554-C678CDDC3E4A}" type="presOf" srcId="{BAB6824F-7BB4-492B-AF83-9FDB6C390A72}" destId="{B9F0E0F7-948B-451E-BA93-E6FBB8504649}" srcOrd="0" destOrd="0" presId="urn:microsoft.com/office/officeart/2005/8/layout/vList5"/>
    <dgm:cxn modelId="{E214BBFF-B4EF-40CC-88FE-A7F967CB50C8}" type="presOf" srcId="{BE7B75F2-2A58-490D-B708-1BA67EC58FF7}" destId="{9ADC01C8-08A9-4C26-B67F-7F00658FD3C5}" srcOrd="0" destOrd="0" presId="urn:microsoft.com/office/officeart/2005/8/layout/vList5"/>
    <dgm:cxn modelId="{ECFE5414-C325-4B02-AB9D-68216D64CC1E}" type="presParOf" srcId="{9ADC01C8-08A9-4C26-B67F-7F00658FD3C5}" destId="{7D2F743D-0B7D-4F38-A300-C2F16AC99C2B}" srcOrd="0" destOrd="0" presId="urn:microsoft.com/office/officeart/2005/8/layout/vList5"/>
    <dgm:cxn modelId="{D7A676A3-8886-4351-83D9-AA159A17F783}" type="presParOf" srcId="{7D2F743D-0B7D-4F38-A300-C2F16AC99C2B}" destId="{B9F0E0F7-948B-451E-BA93-E6FBB8504649}" srcOrd="0" destOrd="0" presId="urn:microsoft.com/office/officeart/2005/8/layout/vList5"/>
    <dgm:cxn modelId="{9F650C6F-DC02-4856-BB7E-083242E60619}" type="presParOf" srcId="{7D2F743D-0B7D-4F38-A300-C2F16AC99C2B}" destId="{6FB983E1-E412-4420-92A5-59A81BFE928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4ECF511-ECC2-4088-BB90-7D85DECCD88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5561B18-5158-47B8-ACD0-E687DEDD3C47}">
      <dgm:prSet/>
      <dgm:spPr/>
      <dgm:t>
        <a:bodyPr/>
        <a:lstStyle/>
        <a:p>
          <a:r>
            <a:rPr lang="en-US" dirty="0"/>
            <a:t>In  Least Absolute Selection and Shrinkage Operator (LASSO) regression, the least squares argument contains </a:t>
          </a:r>
          <a:r>
            <a:rPr lang="en-US" b="1" u="sng" dirty="0"/>
            <a:t>a penalty function</a:t>
          </a:r>
          <a:r>
            <a:rPr lang="en-US" dirty="0"/>
            <a:t> on the absolute value of the slope coefficients.</a:t>
          </a:r>
        </a:p>
      </dgm:t>
    </dgm:pt>
    <dgm:pt modelId="{3D2DBD08-34E1-426E-8923-AB818A98E852}" type="parTrans" cxnId="{386485A1-3B79-4C23-85E8-9283B387B822}">
      <dgm:prSet/>
      <dgm:spPr/>
      <dgm:t>
        <a:bodyPr/>
        <a:lstStyle/>
        <a:p>
          <a:endParaRPr lang="en-US"/>
        </a:p>
      </dgm:t>
    </dgm:pt>
    <dgm:pt modelId="{27174C18-0917-45F2-AAFD-BBB08EB761E2}" type="sibTrans" cxnId="{386485A1-3B79-4C23-85E8-9283B387B822}">
      <dgm:prSet/>
      <dgm:spPr/>
      <dgm:t>
        <a:bodyPr/>
        <a:lstStyle/>
        <a:p>
          <a:endParaRPr lang="en-US"/>
        </a:p>
      </dgm:t>
    </dgm:pt>
    <mc:AlternateContent xmlns:mc="http://schemas.openxmlformats.org/markup-compatibility/2006" xmlns:a14="http://schemas.microsoft.com/office/drawing/2010/main">
      <mc:Choice Requires="a14">
        <dgm:pt modelId="{E42F79D4-7D76-47FB-8F03-63386B8E0072}">
          <dgm:prSet/>
          <dgm:spPr/>
          <dgm: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acc>
                          <m:accPr>
                            <m:chr m:val="̂"/>
                            <m:ctrlPr>
                              <a:rPr lang="en-US" i="1">
                                <a:latin typeface="Cambria Math" panose="02040503050406030204" pitchFamily="18" charset="0"/>
                              </a:rPr>
                            </m:ctrlPr>
                          </m:accPr>
                          <m:e>
                            <m:r>
                              <a:rPr lang="en-US" i="1">
                                <a:latin typeface="Cambria Math" panose="02040503050406030204" pitchFamily="18" charset="0"/>
                              </a:rPr>
                              <m:t>𝛽</m:t>
                            </m:r>
                          </m:e>
                        </m:acc>
                      </m:e>
                      <m:sub>
                        <m:r>
                          <a:rPr lang="en-US" i="1">
                            <a:latin typeface="Cambria Math" panose="02040503050406030204" pitchFamily="18" charset="0"/>
                          </a:rPr>
                          <m:t>𝐿𝑎𝑠𝑠𝑜</m:t>
                        </m:r>
                      </m:sub>
                    </m:sSub>
                    <m:r>
                      <a:rPr lang="en-US" i="1">
                        <a:latin typeface="Cambria Math" panose="02040503050406030204" pitchFamily="18" charset="0"/>
                      </a:rPr>
                      <m:t>= </m:t>
                    </m:r>
                    <m:func>
                      <m:funcPr>
                        <m:ctrlPr>
                          <a:rPr lang="en-US" i="1">
                            <a:latin typeface="Cambria Math" panose="02040503050406030204" pitchFamily="18" charset="0"/>
                          </a:rPr>
                        </m:ctrlPr>
                      </m:funcPr>
                      <m:fName>
                        <m:limLow>
                          <m:limLowPr>
                            <m:ctrlPr>
                              <a:rPr lang="en-US" i="1">
                                <a:latin typeface="Cambria Math" panose="02040503050406030204" pitchFamily="18" charset="0"/>
                              </a:rPr>
                            </m:ctrlPr>
                          </m:limLowPr>
                          <m:e>
                            <m:r>
                              <m:rPr>
                                <m:sty m:val="p"/>
                              </m:rPr>
                              <a:rPr lang="en-US">
                                <a:latin typeface="Cambria Math" panose="02040503050406030204" pitchFamily="18" charset="0"/>
                              </a:rPr>
                              <m:t>argmin</m:t>
                            </m:r>
                          </m:e>
                          <m:lim>
                            <m:r>
                              <a:rPr lang="en-US" i="1">
                                <a:latin typeface="Cambria Math" panose="02040503050406030204" pitchFamily="18" charset="0"/>
                              </a:rPr>
                              <m:t>𝛽</m:t>
                            </m:r>
                          </m:lim>
                        </m:limLow>
                      </m:fName>
                      <m:e>
                        <m:d>
                          <m:dPr>
                            <m:begChr m:val="{"/>
                            <m:endChr m:val="}"/>
                            <m:ctrlPr>
                              <a:rPr lang="en-US" i="1">
                                <a:latin typeface="Cambria Math" panose="02040503050406030204" pitchFamily="18" charset="0"/>
                              </a:rPr>
                            </m:ctrlPr>
                          </m:dPr>
                          <m:e>
                            <m:nary>
                              <m:naryPr>
                                <m:chr m:val="∑"/>
                                <m:ctrlPr>
                                  <a:rPr lang="en-US" i="1" smtClean="0">
                                    <a:solidFill>
                                      <a:schemeClr val="accent1">
                                        <a:lumMod val="50000"/>
                                      </a:schemeClr>
                                    </a:solidFill>
                                    <a:latin typeface="Cambria Math" panose="02040503050406030204" pitchFamily="18" charset="0"/>
                                  </a:rPr>
                                </m:ctrlPr>
                              </m:naryPr>
                              <m:sub>
                                <m:r>
                                  <m:rPr>
                                    <m:brk m:alnAt="23"/>
                                  </m:rPr>
                                  <a:rPr lang="en-US" i="1">
                                    <a:solidFill>
                                      <a:schemeClr val="accent1">
                                        <a:lumMod val="50000"/>
                                      </a:schemeClr>
                                    </a:solidFill>
                                    <a:latin typeface="Cambria Math" panose="02040503050406030204" pitchFamily="18" charset="0"/>
                                  </a:rPr>
                                  <m:t>𝑖</m:t>
                                </m:r>
                                <m:r>
                                  <a:rPr lang="en-US" i="1">
                                    <a:solidFill>
                                      <a:schemeClr val="accent1">
                                        <a:lumMod val="50000"/>
                                      </a:schemeClr>
                                    </a:solidFill>
                                    <a:latin typeface="Cambria Math" panose="02040503050406030204" pitchFamily="18" charset="0"/>
                                  </a:rPr>
                                  <m:t>=1</m:t>
                                </m:r>
                              </m:sub>
                              <m:sup>
                                <m:r>
                                  <a:rPr lang="en-US" i="1">
                                    <a:solidFill>
                                      <a:schemeClr val="accent1">
                                        <a:lumMod val="50000"/>
                                      </a:schemeClr>
                                    </a:solidFill>
                                    <a:latin typeface="Cambria Math" panose="02040503050406030204" pitchFamily="18" charset="0"/>
                                  </a:rPr>
                                  <m:t>𝑁</m:t>
                                </m:r>
                              </m:sup>
                              <m:e>
                                <m:sSup>
                                  <m:sSupPr>
                                    <m:ctrlPr>
                                      <a:rPr lang="en-US" i="1">
                                        <a:solidFill>
                                          <a:schemeClr val="accent1">
                                            <a:lumMod val="50000"/>
                                          </a:schemeClr>
                                        </a:solidFill>
                                        <a:latin typeface="Cambria Math" panose="02040503050406030204" pitchFamily="18" charset="0"/>
                                      </a:rPr>
                                    </m:ctrlPr>
                                  </m:sSupPr>
                                  <m:e>
                                    <m:d>
                                      <m:dPr>
                                        <m:ctrlPr>
                                          <a:rPr lang="en-US" i="1">
                                            <a:solidFill>
                                              <a:schemeClr val="accent1">
                                                <a:lumMod val="50000"/>
                                              </a:schemeClr>
                                            </a:solidFill>
                                            <a:latin typeface="Cambria Math" panose="02040503050406030204" pitchFamily="18" charset="0"/>
                                          </a:rPr>
                                        </m:ctrlPr>
                                      </m:dPr>
                                      <m:e>
                                        <m:sSub>
                                          <m:sSubPr>
                                            <m:ctrlPr>
                                              <a:rPr lang="en-US" i="1" smtClean="0">
                                                <a:solidFill>
                                                  <a:schemeClr val="accent1">
                                                    <a:lumMod val="50000"/>
                                                  </a:schemeClr>
                                                </a:solidFill>
                                                <a:latin typeface="Cambria Math" panose="02040503050406030204" pitchFamily="18" charset="0"/>
                                              </a:rPr>
                                            </m:ctrlPr>
                                          </m:sSubPr>
                                          <m:e>
                                            <m:r>
                                              <a:rPr lang="en-US" i="1">
                                                <a:solidFill>
                                                  <a:schemeClr val="accent1">
                                                    <a:lumMod val="50000"/>
                                                  </a:schemeClr>
                                                </a:solidFill>
                                                <a:latin typeface="Cambria Math" panose="02040503050406030204" pitchFamily="18" charset="0"/>
                                              </a:rPr>
                                              <m:t>𝑦</m:t>
                                            </m:r>
                                          </m:e>
                                          <m:sub>
                                            <m:r>
                                              <a:rPr lang="en-US" i="1">
                                                <a:solidFill>
                                                  <a:schemeClr val="accent1">
                                                    <a:lumMod val="50000"/>
                                                  </a:schemeClr>
                                                </a:solidFill>
                                                <a:latin typeface="Cambria Math" panose="02040503050406030204" pitchFamily="18" charset="0"/>
                                              </a:rPr>
                                              <m:t>𝑖</m:t>
                                            </m:r>
                                          </m:sub>
                                        </m:sSub>
                                        <m:r>
                                          <a:rPr lang="en-US" i="1">
                                            <a:solidFill>
                                              <a:schemeClr val="accent1">
                                                <a:lumMod val="50000"/>
                                              </a:schemeClr>
                                            </a:solidFill>
                                            <a:latin typeface="Cambria Math" panose="02040503050406030204" pitchFamily="18" charset="0"/>
                                          </a:rPr>
                                          <m:t>−</m:t>
                                        </m:r>
                                        <m:sSub>
                                          <m:sSubPr>
                                            <m:ctrlPr>
                                              <a:rPr lang="en-US" i="1">
                                                <a:solidFill>
                                                  <a:schemeClr val="accent1">
                                                    <a:lumMod val="50000"/>
                                                  </a:schemeClr>
                                                </a:solidFill>
                                                <a:latin typeface="Cambria Math" panose="02040503050406030204" pitchFamily="18" charset="0"/>
                                              </a:rPr>
                                            </m:ctrlPr>
                                          </m:sSubPr>
                                          <m:e>
                                            <m:r>
                                              <a:rPr lang="en-US" i="1">
                                                <a:solidFill>
                                                  <a:schemeClr val="accent1">
                                                    <a:lumMod val="50000"/>
                                                  </a:schemeClr>
                                                </a:solidFill>
                                                <a:latin typeface="Cambria Math" panose="02040503050406030204" pitchFamily="18" charset="0"/>
                                              </a:rPr>
                                              <m:t>𝛽</m:t>
                                            </m:r>
                                          </m:e>
                                          <m:sub>
                                            <m:r>
                                              <a:rPr lang="en-US" i="1">
                                                <a:solidFill>
                                                  <a:schemeClr val="accent1">
                                                    <a:lumMod val="50000"/>
                                                  </a:schemeClr>
                                                </a:solidFill>
                                                <a:latin typeface="Cambria Math" panose="02040503050406030204" pitchFamily="18" charset="0"/>
                                              </a:rPr>
                                              <m:t>0</m:t>
                                            </m:r>
                                          </m:sub>
                                        </m:sSub>
                                        <m:r>
                                          <a:rPr lang="en-US" i="1">
                                            <a:solidFill>
                                              <a:schemeClr val="accent1">
                                                <a:lumMod val="50000"/>
                                              </a:schemeClr>
                                            </a:solidFill>
                                            <a:latin typeface="Cambria Math" panose="02040503050406030204" pitchFamily="18" charset="0"/>
                                          </a:rPr>
                                          <m:t>−</m:t>
                                        </m:r>
                                        <m:nary>
                                          <m:naryPr>
                                            <m:chr m:val="∑"/>
                                            <m:ctrlPr>
                                              <a:rPr lang="en-US" i="1">
                                                <a:solidFill>
                                                  <a:schemeClr val="accent1">
                                                    <a:lumMod val="50000"/>
                                                  </a:schemeClr>
                                                </a:solidFill>
                                                <a:latin typeface="Cambria Math" panose="02040503050406030204" pitchFamily="18" charset="0"/>
                                              </a:rPr>
                                            </m:ctrlPr>
                                          </m:naryPr>
                                          <m:sub>
                                            <m:r>
                                              <m:rPr>
                                                <m:brk m:alnAt="23"/>
                                              </m:rPr>
                                              <a:rPr lang="en-US" i="1">
                                                <a:solidFill>
                                                  <a:schemeClr val="accent1">
                                                    <a:lumMod val="50000"/>
                                                  </a:schemeClr>
                                                </a:solidFill>
                                                <a:latin typeface="Cambria Math" panose="02040503050406030204" pitchFamily="18" charset="0"/>
                                              </a:rPr>
                                              <m:t>𝑗</m:t>
                                            </m:r>
                                            <m:r>
                                              <a:rPr lang="en-US" i="1">
                                                <a:solidFill>
                                                  <a:schemeClr val="accent1">
                                                    <a:lumMod val="50000"/>
                                                  </a:schemeClr>
                                                </a:solidFill>
                                                <a:latin typeface="Cambria Math" panose="02040503050406030204" pitchFamily="18" charset="0"/>
                                              </a:rPr>
                                              <m:t>=1</m:t>
                                            </m:r>
                                          </m:sub>
                                          <m:sup>
                                            <m:r>
                                              <a:rPr lang="en-US" i="1">
                                                <a:solidFill>
                                                  <a:schemeClr val="accent1">
                                                    <a:lumMod val="50000"/>
                                                  </a:schemeClr>
                                                </a:solidFill>
                                                <a:latin typeface="Cambria Math" panose="02040503050406030204" pitchFamily="18" charset="0"/>
                                              </a:rPr>
                                              <m:t>𝑝</m:t>
                                            </m:r>
                                          </m:sup>
                                          <m:e>
                                            <m:sSub>
                                              <m:sSubPr>
                                                <m:ctrlPr>
                                                  <a:rPr lang="en-US" i="1">
                                                    <a:solidFill>
                                                      <a:schemeClr val="accent1">
                                                        <a:lumMod val="50000"/>
                                                      </a:schemeClr>
                                                    </a:solidFill>
                                                    <a:latin typeface="Cambria Math" panose="02040503050406030204" pitchFamily="18" charset="0"/>
                                                  </a:rPr>
                                                </m:ctrlPr>
                                              </m:sSubPr>
                                              <m:e>
                                                <m:r>
                                                  <a:rPr lang="en-US" i="1">
                                                    <a:solidFill>
                                                      <a:schemeClr val="accent1">
                                                        <a:lumMod val="50000"/>
                                                      </a:schemeClr>
                                                    </a:solidFill>
                                                    <a:latin typeface="Cambria Math" panose="02040503050406030204" pitchFamily="18" charset="0"/>
                                                  </a:rPr>
                                                  <m:t>𝑥</m:t>
                                                </m:r>
                                              </m:e>
                                              <m:sub>
                                                <m:r>
                                                  <a:rPr lang="en-US" i="1">
                                                    <a:solidFill>
                                                      <a:schemeClr val="accent1">
                                                        <a:lumMod val="50000"/>
                                                      </a:schemeClr>
                                                    </a:solidFill>
                                                    <a:latin typeface="Cambria Math" panose="02040503050406030204" pitchFamily="18" charset="0"/>
                                                  </a:rPr>
                                                  <m:t>𝑖𝑗</m:t>
                                                </m:r>
                                              </m:sub>
                                            </m:sSub>
                                            <m:sSub>
                                              <m:sSubPr>
                                                <m:ctrlPr>
                                                  <a:rPr lang="en-US" i="1">
                                                    <a:solidFill>
                                                      <a:schemeClr val="accent1">
                                                        <a:lumMod val="50000"/>
                                                      </a:schemeClr>
                                                    </a:solidFill>
                                                    <a:latin typeface="Cambria Math" panose="02040503050406030204" pitchFamily="18" charset="0"/>
                                                  </a:rPr>
                                                </m:ctrlPr>
                                              </m:sSubPr>
                                              <m:e>
                                                <m:r>
                                                  <a:rPr lang="en-US" i="1">
                                                    <a:solidFill>
                                                      <a:schemeClr val="accent1">
                                                        <a:lumMod val="50000"/>
                                                      </a:schemeClr>
                                                    </a:solidFill>
                                                    <a:latin typeface="Cambria Math" panose="02040503050406030204" pitchFamily="18" charset="0"/>
                                                  </a:rPr>
                                                  <m:t>𝛽</m:t>
                                                </m:r>
                                              </m:e>
                                              <m:sub>
                                                <m:r>
                                                  <a:rPr lang="en-US" i="1">
                                                    <a:solidFill>
                                                      <a:schemeClr val="accent1">
                                                        <a:lumMod val="50000"/>
                                                      </a:schemeClr>
                                                    </a:solidFill>
                                                    <a:latin typeface="Cambria Math" panose="02040503050406030204" pitchFamily="18" charset="0"/>
                                                  </a:rPr>
                                                  <m:t>𝑗</m:t>
                                                </m:r>
                                              </m:sub>
                                            </m:sSub>
                                          </m:e>
                                        </m:nary>
                                      </m:e>
                                    </m:d>
                                  </m:e>
                                  <m:sup>
                                    <m:r>
                                      <a:rPr lang="en-US" i="1">
                                        <a:solidFill>
                                          <a:schemeClr val="accent1">
                                            <a:lumMod val="50000"/>
                                          </a:schemeClr>
                                        </a:solidFill>
                                        <a:latin typeface="Cambria Math" panose="02040503050406030204" pitchFamily="18" charset="0"/>
                                      </a:rPr>
                                      <m:t>2</m:t>
                                    </m:r>
                                  </m:sup>
                                </m:sSup>
                              </m:e>
                            </m:nary>
                            <m:r>
                              <a:rPr lang="en-US" b="0" i="1">
                                <a:latin typeface="Cambria Math" panose="02040503050406030204" pitchFamily="18" charset="0"/>
                              </a:rPr>
                              <m:t>+</m:t>
                            </m:r>
                            <m:r>
                              <a:rPr lang="en-US" b="0" i="1" smtClean="0">
                                <a:solidFill>
                                  <a:srgbClr val="C00000"/>
                                </a:solidFill>
                                <a:latin typeface="Cambria Math" panose="02040503050406030204" pitchFamily="18" charset="0"/>
                              </a:rPr>
                              <m:t>𝜆</m:t>
                            </m:r>
                            <m:nary>
                              <m:naryPr>
                                <m:chr m:val="∑"/>
                                <m:limLoc m:val="subSup"/>
                                <m:ctrlPr>
                                  <a:rPr lang="en-US" b="0" i="1">
                                    <a:solidFill>
                                      <a:srgbClr val="C00000"/>
                                    </a:solidFill>
                                    <a:latin typeface="Cambria Math" panose="02040503050406030204" pitchFamily="18" charset="0"/>
                                  </a:rPr>
                                </m:ctrlPr>
                              </m:naryPr>
                              <m:sub>
                                <m:r>
                                  <m:rPr>
                                    <m:brk m:alnAt="25"/>
                                  </m:rPr>
                                  <a:rPr lang="en-US" b="0" i="1">
                                    <a:solidFill>
                                      <a:srgbClr val="C00000"/>
                                    </a:solidFill>
                                    <a:latin typeface="Cambria Math" panose="02040503050406030204" pitchFamily="18" charset="0"/>
                                  </a:rPr>
                                  <m:t>𝑗</m:t>
                                </m:r>
                                <m:r>
                                  <a:rPr lang="en-US" b="0" i="1">
                                    <a:solidFill>
                                      <a:srgbClr val="C00000"/>
                                    </a:solidFill>
                                    <a:latin typeface="Cambria Math" panose="02040503050406030204" pitchFamily="18" charset="0"/>
                                  </a:rPr>
                                  <m:t>=1</m:t>
                                </m:r>
                              </m:sub>
                              <m:sup>
                                <m:r>
                                  <a:rPr lang="en-US" b="0" i="1">
                                    <a:solidFill>
                                      <a:srgbClr val="C00000"/>
                                    </a:solidFill>
                                    <a:latin typeface="Cambria Math" panose="02040503050406030204" pitchFamily="18" charset="0"/>
                                  </a:rPr>
                                  <m:t>𝑝</m:t>
                                </m:r>
                              </m:sup>
                              <m:e>
                                <m:d>
                                  <m:dPr>
                                    <m:begChr m:val="|"/>
                                    <m:endChr m:val="|"/>
                                    <m:ctrlPr>
                                      <a:rPr lang="en-US" b="0" i="1">
                                        <a:solidFill>
                                          <a:srgbClr val="C00000"/>
                                        </a:solidFill>
                                        <a:latin typeface="Cambria Math" panose="02040503050406030204" pitchFamily="18" charset="0"/>
                                      </a:rPr>
                                    </m:ctrlPr>
                                  </m:dPr>
                                  <m:e>
                                    <m:sSub>
                                      <m:sSubPr>
                                        <m:ctrlPr>
                                          <a:rPr lang="en-US" b="0" i="1">
                                            <a:solidFill>
                                              <a:srgbClr val="C00000"/>
                                            </a:solidFill>
                                            <a:latin typeface="Cambria Math" panose="02040503050406030204" pitchFamily="18" charset="0"/>
                                          </a:rPr>
                                        </m:ctrlPr>
                                      </m:sSubPr>
                                      <m:e>
                                        <m:r>
                                          <a:rPr lang="en-US" b="0" i="1">
                                            <a:solidFill>
                                              <a:srgbClr val="C00000"/>
                                            </a:solidFill>
                                            <a:latin typeface="Cambria Math" panose="02040503050406030204" pitchFamily="18" charset="0"/>
                                          </a:rPr>
                                          <m:t>𝛽</m:t>
                                        </m:r>
                                      </m:e>
                                      <m:sub>
                                        <m:r>
                                          <a:rPr lang="en-US" b="0" i="1">
                                            <a:solidFill>
                                              <a:srgbClr val="C00000"/>
                                            </a:solidFill>
                                            <a:latin typeface="Cambria Math" panose="02040503050406030204" pitchFamily="18" charset="0"/>
                                          </a:rPr>
                                          <m:t>𝑗</m:t>
                                        </m:r>
                                      </m:sub>
                                    </m:sSub>
                                  </m:e>
                                </m:d>
                              </m:e>
                            </m:nary>
                          </m:e>
                        </m:d>
                      </m:e>
                    </m:func>
                  </m:oMath>
                </m:oMathPara>
              </a14:m>
              <a:endParaRPr lang="en-US" dirty="0"/>
            </a:p>
          </dgm:t>
        </dgm:pt>
      </mc:Choice>
      <mc:Fallback xmlns="">
        <dgm:pt modelId="{E42F79D4-7D76-47FB-8F03-63386B8E0072}">
          <dgm:prSet/>
          <dgm:spPr/>
          <dgm:t>
            <a:bodyPr/>
            <a:lstStyle/>
            <a:p>
              <a:r>
                <a:rPr lang="en-US" i="0"/>
                <a:t>𝛽 ̂_𝐿𝑎𝑠𝑠𝑜=   argmin┬𝛽⁡{</a:t>
              </a:r>
              <a:r>
                <a:rPr lang="en-US" i="0">
                  <a:solidFill>
                    <a:schemeClr val="accent1">
                      <a:lumMod val="50000"/>
                    </a:schemeClr>
                  </a:solidFill>
                </a:rPr>
                <a:t>∑_(𝑖=1)^𝑁▒(𝑦_𝑖−𝛽_0−∑_(𝑗=1)^𝑝▒〖𝑥_𝑖𝑗 𝛽_𝑗 〗)^2 </a:t>
              </a:r>
              <a:r>
                <a:rPr lang="en-US" b="0" i="0"/>
                <a:t>+</a:t>
              </a:r>
              <a:r>
                <a:rPr lang="en-US" b="0" i="0">
                  <a:solidFill>
                    <a:srgbClr val="C00000"/>
                  </a:solidFill>
                </a:rPr>
                <a:t>𝜆∑2_(𝑗=1)^𝑝▒|𝛽_𝑗 | }</a:t>
              </a:r>
              <a:endParaRPr lang="en-US" dirty="0"/>
            </a:p>
          </dgm:t>
        </dgm:pt>
      </mc:Fallback>
    </mc:AlternateContent>
    <dgm:pt modelId="{E8FD88B7-8D08-4E81-9E81-7ACE926D91B9}" type="parTrans" cxnId="{AE8A47E8-FD03-4EA2-9DC5-ADD6AD7FCC82}">
      <dgm:prSet/>
      <dgm:spPr/>
      <dgm:t>
        <a:bodyPr/>
        <a:lstStyle/>
        <a:p>
          <a:endParaRPr lang="en-US"/>
        </a:p>
      </dgm:t>
    </dgm:pt>
    <dgm:pt modelId="{6296A3DC-8A75-47E2-9807-3DD331023488}" type="sibTrans" cxnId="{AE8A47E8-FD03-4EA2-9DC5-ADD6AD7FCC82}">
      <dgm:prSet/>
      <dgm:spPr/>
      <dgm:t>
        <a:bodyPr/>
        <a:lstStyle/>
        <a:p>
          <a:endParaRPr lang="en-US"/>
        </a:p>
      </dgm:t>
    </dgm:pt>
    <dgm:pt modelId="{09F1EEB0-5686-469E-A1FF-A6A575826D81}">
      <dgm:prSet/>
      <dgm:spPr/>
      <dgm:t>
        <a:bodyPr/>
        <a:lstStyle/>
        <a:p>
          <a:r>
            <a:rPr lang="en-US" dirty="0"/>
            <a:t>Increasing the </a:t>
          </a:r>
          <a:r>
            <a:rPr lang="en-US" b="1" u="sng" dirty="0"/>
            <a:t>penalty parameter</a:t>
          </a:r>
          <a:r>
            <a:rPr lang="en-US" dirty="0"/>
            <a:t> </a:t>
          </a:r>
          <a:r>
            <a:rPr lang="el-GR" dirty="0"/>
            <a:t>λ</a:t>
          </a:r>
          <a:r>
            <a:rPr lang="en-US" dirty="0"/>
            <a:t> causes slope estimates of covariates with low explanatory power to “shrink” toward zero and eventually exit the model.</a:t>
          </a:r>
        </a:p>
      </dgm:t>
    </dgm:pt>
    <dgm:pt modelId="{CB52142B-A2A6-4334-9286-8BF92D4EA75E}" type="parTrans" cxnId="{A8BD2F02-BFEF-40E9-97EF-A586F9FA6E08}">
      <dgm:prSet/>
      <dgm:spPr/>
      <dgm:t>
        <a:bodyPr/>
        <a:lstStyle/>
        <a:p>
          <a:endParaRPr lang="en-US"/>
        </a:p>
      </dgm:t>
    </dgm:pt>
    <dgm:pt modelId="{A3825DF7-20D8-48FF-BDED-A0503FB42786}" type="sibTrans" cxnId="{A8BD2F02-BFEF-40E9-97EF-A586F9FA6E08}">
      <dgm:prSet/>
      <dgm:spPr/>
      <dgm:t>
        <a:bodyPr/>
        <a:lstStyle/>
        <a:p>
          <a:endParaRPr lang="en-US"/>
        </a:p>
      </dgm:t>
    </dgm:pt>
    <dgm:pt modelId="{CA748281-2A4E-4232-8AEC-432AAE910361}">
      <dgm:prSet/>
      <dgm:spPr/>
      <dgm:t>
        <a:bodyPr/>
        <a:lstStyle/>
        <a:p>
          <a:r>
            <a:rPr lang="en-US" dirty="0"/>
            <a:t>Note: hypothesis testing on </a:t>
          </a:r>
          <a:r>
            <a:rPr lang="el-GR" dirty="0"/>
            <a:t>β</a:t>
          </a:r>
          <a:r>
            <a:rPr lang="en-US" dirty="0"/>
            <a:t> is no longer valid </a:t>
          </a:r>
        </a:p>
      </dgm:t>
    </dgm:pt>
    <dgm:pt modelId="{DAA161D8-33F9-4BCF-A3A1-27403FDCE20B}" type="parTrans" cxnId="{69E01B88-5902-41CC-8AAF-92E818F75303}">
      <dgm:prSet/>
      <dgm:spPr/>
      <dgm:t>
        <a:bodyPr/>
        <a:lstStyle/>
        <a:p>
          <a:endParaRPr lang="en-US"/>
        </a:p>
      </dgm:t>
    </dgm:pt>
    <dgm:pt modelId="{3238F28C-3CFD-4E75-A926-372DD983CB43}" type="sibTrans" cxnId="{69E01B88-5902-41CC-8AAF-92E818F75303}">
      <dgm:prSet/>
      <dgm:spPr/>
      <dgm:t>
        <a:bodyPr/>
        <a:lstStyle/>
        <a:p>
          <a:endParaRPr lang="en-US"/>
        </a:p>
      </dgm:t>
    </dgm:pt>
    <dgm:pt modelId="{E170BEBB-B6E5-4217-A6CE-31BCFDC15731}">
      <dgm:prSet/>
      <dgm:spPr/>
      <dgm:t>
        <a:bodyPr/>
        <a:lstStyle/>
        <a:p>
          <a:r>
            <a:rPr lang="en-US"/>
            <a:t>Trades an increase in prediction bias for a decrease in prediction variance</a:t>
          </a:r>
        </a:p>
      </dgm:t>
    </dgm:pt>
    <dgm:pt modelId="{46D771C5-D6F5-433B-8D96-D942C1E1C5EE}" type="parTrans" cxnId="{402872B9-56BA-48BE-B705-F14C06E4E68A}">
      <dgm:prSet/>
      <dgm:spPr/>
      <dgm:t>
        <a:bodyPr/>
        <a:lstStyle/>
        <a:p>
          <a:endParaRPr lang="en-US"/>
        </a:p>
      </dgm:t>
    </dgm:pt>
    <dgm:pt modelId="{FC5CCF26-F31D-44CD-ADCB-1504F94C12EB}" type="sibTrans" cxnId="{402872B9-56BA-48BE-B705-F14C06E4E68A}">
      <dgm:prSet/>
      <dgm:spPr/>
      <dgm:t>
        <a:bodyPr/>
        <a:lstStyle/>
        <a:p>
          <a:endParaRPr lang="en-US"/>
        </a:p>
      </dgm:t>
    </dgm:pt>
    <dgm:pt modelId="{99E7DF36-3609-4B25-B485-BABB8955E2BB}">
      <dgm:prSet/>
      <dgm:spPr/>
      <dgm:t>
        <a:bodyPr/>
        <a:lstStyle/>
        <a:p>
          <a:r>
            <a:rPr lang="en-US" dirty="0"/>
            <a:t>How far should we go?</a:t>
          </a:r>
        </a:p>
      </dgm:t>
    </dgm:pt>
    <dgm:pt modelId="{E3754F91-3C82-4199-9A68-EE7EC6D95E31}" type="parTrans" cxnId="{51B1E023-F3E2-40F3-8F9F-643E07519A2D}">
      <dgm:prSet/>
      <dgm:spPr/>
      <dgm:t>
        <a:bodyPr/>
        <a:lstStyle/>
        <a:p>
          <a:endParaRPr lang="en-US"/>
        </a:p>
      </dgm:t>
    </dgm:pt>
    <dgm:pt modelId="{44E67959-DF7E-42F5-B2C5-1FBA795FBED7}" type="sibTrans" cxnId="{51B1E023-F3E2-40F3-8F9F-643E07519A2D}">
      <dgm:prSet/>
      <dgm:spPr/>
      <dgm:t>
        <a:bodyPr/>
        <a:lstStyle/>
        <a:p>
          <a:endParaRPr lang="en-US"/>
        </a:p>
      </dgm:t>
    </dgm:pt>
    <dgm:pt modelId="{2DC77BF5-4AF8-48BB-B9B3-425094454CBB}" type="pres">
      <dgm:prSet presAssocID="{D4ECF511-ECC2-4088-BB90-7D85DECCD881}" presName="Name0" presStyleCnt="0">
        <dgm:presLayoutVars>
          <dgm:dir/>
          <dgm:animLvl val="lvl"/>
          <dgm:resizeHandles val="exact"/>
        </dgm:presLayoutVars>
      </dgm:prSet>
      <dgm:spPr/>
    </dgm:pt>
    <dgm:pt modelId="{7D098BE2-867E-4CBF-A5C1-1585879C9541}" type="pres">
      <dgm:prSet presAssocID="{05561B18-5158-47B8-ACD0-E687DEDD3C47}" presName="linNode" presStyleCnt="0"/>
      <dgm:spPr/>
    </dgm:pt>
    <dgm:pt modelId="{33859BA6-4303-48A5-967B-116EAA186049}" type="pres">
      <dgm:prSet presAssocID="{05561B18-5158-47B8-ACD0-E687DEDD3C47}" presName="parentText" presStyleLbl="node1" presStyleIdx="0" presStyleCnt="2">
        <dgm:presLayoutVars>
          <dgm:chMax val="1"/>
          <dgm:bulletEnabled val="1"/>
        </dgm:presLayoutVars>
      </dgm:prSet>
      <dgm:spPr/>
    </dgm:pt>
    <dgm:pt modelId="{8D46CEAA-8F47-4D7B-939A-93266782FA23}" type="pres">
      <dgm:prSet presAssocID="{05561B18-5158-47B8-ACD0-E687DEDD3C47}" presName="descendantText" presStyleLbl="alignAccFollowNode1" presStyleIdx="0" presStyleCnt="2">
        <dgm:presLayoutVars>
          <dgm:bulletEnabled val="1"/>
        </dgm:presLayoutVars>
      </dgm:prSet>
      <dgm:spPr/>
    </dgm:pt>
    <dgm:pt modelId="{D67B1D93-DC86-4BDB-9DF8-DE8357FF1865}" type="pres">
      <dgm:prSet presAssocID="{27174C18-0917-45F2-AAFD-BBB08EB761E2}" presName="sp" presStyleCnt="0"/>
      <dgm:spPr/>
    </dgm:pt>
    <dgm:pt modelId="{E5F7388C-8356-4890-8AFF-E9C0C7F4761C}" type="pres">
      <dgm:prSet presAssocID="{09F1EEB0-5686-469E-A1FF-A6A575826D81}" presName="linNode" presStyleCnt="0"/>
      <dgm:spPr/>
    </dgm:pt>
    <dgm:pt modelId="{9E41091B-3A42-4F29-8E52-F2BEBC88D191}" type="pres">
      <dgm:prSet presAssocID="{09F1EEB0-5686-469E-A1FF-A6A575826D81}" presName="parentText" presStyleLbl="node1" presStyleIdx="1" presStyleCnt="2">
        <dgm:presLayoutVars>
          <dgm:chMax val="1"/>
          <dgm:bulletEnabled val="1"/>
        </dgm:presLayoutVars>
      </dgm:prSet>
      <dgm:spPr/>
    </dgm:pt>
    <dgm:pt modelId="{99EE2E49-2A7A-45F7-A766-E23D3AFAA6D4}" type="pres">
      <dgm:prSet presAssocID="{09F1EEB0-5686-469E-A1FF-A6A575826D81}" presName="descendantText" presStyleLbl="alignAccFollowNode1" presStyleIdx="1" presStyleCnt="2">
        <dgm:presLayoutVars>
          <dgm:bulletEnabled val="1"/>
        </dgm:presLayoutVars>
      </dgm:prSet>
      <dgm:spPr/>
    </dgm:pt>
  </dgm:ptLst>
  <dgm:cxnLst>
    <dgm:cxn modelId="{A8BD2F02-BFEF-40E9-97EF-A586F9FA6E08}" srcId="{D4ECF511-ECC2-4088-BB90-7D85DECCD881}" destId="{09F1EEB0-5686-469E-A1FF-A6A575826D81}" srcOrd="1" destOrd="0" parTransId="{CB52142B-A2A6-4334-9286-8BF92D4EA75E}" sibTransId="{A3825DF7-20D8-48FF-BDED-A0503FB42786}"/>
    <dgm:cxn modelId="{EC19BA0D-E0DA-4955-A8C3-A676E56CF28E}" type="presOf" srcId="{E170BEBB-B6E5-4217-A6CE-31BCFDC15731}" destId="{99EE2E49-2A7A-45F7-A766-E23D3AFAA6D4}" srcOrd="0" destOrd="1" presId="urn:microsoft.com/office/officeart/2005/8/layout/vList5"/>
    <dgm:cxn modelId="{51B1E023-F3E2-40F3-8F9F-643E07519A2D}" srcId="{09F1EEB0-5686-469E-A1FF-A6A575826D81}" destId="{99E7DF36-3609-4B25-B485-BABB8955E2BB}" srcOrd="2" destOrd="0" parTransId="{E3754F91-3C82-4199-9A68-EE7EC6D95E31}" sibTransId="{44E67959-DF7E-42F5-B2C5-1FBA795FBED7}"/>
    <dgm:cxn modelId="{E09FED69-1555-4C23-A9D5-6087062DEF6F}" type="presOf" srcId="{09F1EEB0-5686-469E-A1FF-A6A575826D81}" destId="{9E41091B-3A42-4F29-8E52-F2BEBC88D191}" srcOrd="0" destOrd="0" presId="urn:microsoft.com/office/officeart/2005/8/layout/vList5"/>
    <dgm:cxn modelId="{04FC086A-3B75-4775-A77E-9F418855723C}" type="presOf" srcId="{E42F79D4-7D76-47FB-8F03-63386B8E0072}" destId="{8D46CEAA-8F47-4D7B-939A-93266782FA23}" srcOrd="0" destOrd="0" presId="urn:microsoft.com/office/officeart/2005/8/layout/vList5"/>
    <dgm:cxn modelId="{B255744D-3164-4F15-A0CB-1C2C84FAA5FD}" type="presOf" srcId="{CA748281-2A4E-4232-8AEC-432AAE910361}" destId="{99EE2E49-2A7A-45F7-A766-E23D3AFAA6D4}" srcOrd="0" destOrd="0" presId="urn:microsoft.com/office/officeart/2005/8/layout/vList5"/>
    <dgm:cxn modelId="{DDBDB04F-FE38-4583-B0C2-6C4077418048}" type="presOf" srcId="{05561B18-5158-47B8-ACD0-E687DEDD3C47}" destId="{33859BA6-4303-48A5-967B-116EAA186049}" srcOrd="0" destOrd="0" presId="urn:microsoft.com/office/officeart/2005/8/layout/vList5"/>
    <dgm:cxn modelId="{69E01B88-5902-41CC-8AAF-92E818F75303}" srcId="{09F1EEB0-5686-469E-A1FF-A6A575826D81}" destId="{CA748281-2A4E-4232-8AEC-432AAE910361}" srcOrd="0" destOrd="0" parTransId="{DAA161D8-33F9-4BCF-A3A1-27403FDCE20B}" sibTransId="{3238F28C-3CFD-4E75-A926-372DD983CB43}"/>
    <dgm:cxn modelId="{386485A1-3B79-4C23-85E8-9283B387B822}" srcId="{D4ECF511-ECC2-4088-BB90-7D85DECCD881}" destId="{05561B18-5158-47B8-ACD0-E687DEDD3C47}" srcOrd="0" destOrd="0" parTransId="{3D2DBD08-34E1-426E-8923-AB818A98E852}" sibTransId="{27174C18-0917-45F2-AAFD-BBB08EB761E2}"/>
    <dgm:cxn modelId="{1B00AFB7-FE30-41AA-A542-7B1F72571F84}" type="presOf" srcId="{99E7DF36-3609-4B25-B485-BABB8955E2BB}" destId="{99EE2E49-2A7A-45F7-A766-E23D3AFAA6D4}" srcOrd="0" destOrd="2" presId="urn:microsoft.com/office/officeart/2005/8/layout/vList5"/>
    <dgm:cxn modelId="{402872B9-56BA-48BE-B705-F14C06E4E68A}" srcId="{09F1EEB0-5686-469E-A1FF-A6A575826D81}" destId="{E170BEBB-B6E5-4217-A6CE-31BCFDC15731}" srcOrd="1" destOrd="0" parTransId="{46D771C5-D6F5-433B-8D96-D942C1E1C5EE}" sibTransId="{FC5CCF26-F31D-44CD-ADCB-1504F94C12EB}"/>
    <dgm:cxn modelId="{AE8A47E8-FD03-4EA2-9DC5-ADD6AD7FCC82}" srcId="{05561B18-5158-47B8-ACD0-E687DEDD3C47}" destId="{E42F79D4-7D76-47FB-8F03-63386B8E0072}" srcOrd="0" destOrd="0" parTransId="{E8FD88B7-8D08-4E81-9E81-7ACE926D91B9}" sibTransId="{6296A3DC-8A75-47E2-9807-3DD331023488}"/>
    <dgm:cxn modelId="{DF9D40F1-DD80-4219-8AF7-3DA4B9C07656}" type="presOf" srcId="{D4ECF511-ECC2-4088-BB90-7D85DECCD881}" destId="{2DC77BF5-4AF8-48BB-B9B3-425094454CBB}" srcOrd="0" destOrd="0" presId="urn:microsoft.com/office/officeart/2005/8/layout/vList5"/>
    <dgm:cxn modelId="{4D7CDD63-F3D5-4AF5-9CED-D965928EB41A}" type="presParOf" srcId="{2DC77BF5-4AF8-48BB-B9B3-425094454CBB}" destId="{7D098BE2-867E-4CBF-A5C1-1585879C9541}" srcOrd="0" destOrd="0" presId="urn:microsoft.com/office/officeart/2005/8/layout/vList5"/>
    <dgm:cxn modelId="{AC092AB1-6B95-4490-9AD6-0CEBD6753A0E}" type="presParOf" srcId="{7D098BE2-867E-4CBF-A5C1-1585879C9541}" destId="{33859BA6-4303-48A5-967B-116EAA186049}" srcOrd="0" destOrd="0" presId="urn:microsoft.com/office/officeart/2005/8/layout/vList5"/>
    <dgm:cxn modelId="{EFF0A7F1-34A8-4A68-97B4-BB1DF38692CD}" type="presParOf" srcId="{7D098BE2-867E-4CBF-A5C1-1585879C9541}" destId="{8D46CEAA-8F47-4D7B-939A-93266782FA23}" srcOrd="1" destOrd="0" presId="urn:microsoft.com/office/officeart/2005/8/layout/vList5"/>
    <dgm:cxn modelId="{783A7576-E106-46E6-A4D1-A93986D2F2ED}" type="presParOf" srcId="{2DC77BF5-4AF8-48BB-B9B3-425094454CBB}" destId="{D67B1D93-DC86-4BDB-9DF8-DE8357FF1865}" srcOrd="1" destOrd="0" presId="urn:microsoft.com/office/officeart/2005/8/layout/vList5"/>
    <dgm:cxn modelId="{795806E9-B4EB-49A0-948C-2D70840F1634}" type="presParOf" srcId="{2DC77BF5-4AF8-48BB-B9B3-425094454CBB}" destId="{E5F7388C-8356-4890-8AFF-E9C0C7F4761C}" srcOrd="2" destOrd="0" presId="urn:microsoft.com/office/officeart/2005/8/layout/vList5"/>
    <dgm:cxn modelId="{18E1F6CD-9599-4CF2-8E49-971F476C908A}" type="presParOf" srcId="{E5F7388C-8356-4890-8AFF-E9C0C7F4761C}" destId="{9E41091B-3A42-4F29-8E52-F2BEBC88D191}" srcOrd="0" destOrd="0" presId="urn:microsoft.com/office/officeart/2005/8/layout/vList5"/>
    <dgm:cxn modelId="{AD9963FB-80A3-4AEB-B948-293D2F417AC3}" type="presParOf" srcId="{E5F7388C-8356-4890-8AFF-E9C0C7F4761C}" destId="{99EE2E49-2A7A-45F7-A766-E23D3AFAA6D4}"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4ECF511-ECC2-4088-BB90-7D85DECCD88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5561B18-5158-47B8-ACD0-E687DEDD3C47}">
      <dgm:prSet/>
      <dgm:spPr/>
      <dgm:t>
        <a:bodyPr/>
        <a:lstStyle/>
        <a:p>
          <a:r>
            <a:rPr lang="en-US" dirty="0"/>
            <a:t>In  Least Absolute Selection and Shrinkage Operator (LASSO) regression, the least squares argument contains </a:t>
          </a:r>
          <a:r>
            <a:rPr lang="en-US" b="1" u="sng" dirty="0"/>
            <a:t>a penalty function</a:t>
          </a:r>
          <a:r>
            <a:rPr lang="en-US" dirty="0"/>
            <a:t> on the absolute value of the slope coefficients.</a:t>
          </a:r>
        </a:p>
      </dgm:t>
    </dgm:pt>
    <dgm:pt modelId="{3D2DBD08-34E1-426E-8923-AB818A98E852}" type="parTrans" cxnId="{386485A1-3B79-4C23-85E8-9283B387B822}">
      <dgm:prSet/>
      <dgm:spPr/>
      <dgm:t>
        <a:bodyPr/>
        <a:lstStyle/>
        <a:p>
          <a:endParaRPr lang="en-US"/>
        </a:p>
      </dgm:t>
    </dgm:pt>
    <dgm:pt modelId="{27174C18-0917-45F2-AAFD-BBB08EB761E2}" type="sibTrans" cxnId="{386485A1-3B79-4C23-85E8-9283B387B822}">
      <dgm:prSet/>
      <dgm:spPr/>
      <dgm:t>
        <a:bodyPr/>
        <a:lstStyle/>
        <a:p>
          <a:endParaRPr lang="en-US"/>
        </a:p>
      </dgm:t>
    </dgm:pt>
    <dgm:pt modelId="{E42F79D4-7D76-47FB-8F03-63386B8E0072}">
      <dgm:prSet/>
      <dgm:spPr>
        <a:blipFill>
          <a:blip xmlns:r="http://schemas.openxmlformats.org/officeDocument/2006/relationships" r:embed="rId1"/>
          <a:stretch>
            <a:fillRect/>
          </a:stretch>
        </a:blipFill>
      </dgm:spPr>
      <dgm:t>
        <a:bodyPr/>
        <a:lstStyle/>
        <a:p>
          <a:r>
            <a:rPr lang="en-US">
              <a:noFill/>
            </a:rPr>
            <a:t> </a:t>
          </a:r>
        </a:p>
      </dgm:t>
    </dgm:pt>
    <dgm:pt modelId="{E8FD88B7-8D08-4E81-9E81-7ACE926D91B9}" type="parTrans" cxnId="{AE8A47E8-FD03-4EA2-9DC5-ADD6AD7FCC82}">
      <dgm:prSet/>
      <dgm:spPr/>
      <dgm:t>
        <a:bodyPr/>
        <a:lstStyle/>
        <a:p>
          <a:endParaRPr lang="en-US"/>
        </a:p>
      </dgm:t>
    </dgm:pt>
    <dgm:pt modelId="{6296A3DC-8A75-47E2-9807-3DD331023488}" type="sibTrans" cxnId="{AE8A47E8-FD03-4EA2-9DC5-ADD6AD7FCC82}">
      <dgm:prSet/>
      <dgm:spPr/>
      <dgm:t>
        <a:bodyPr/>
        <a:lstStyle/>
        <a:p>
          <a:endParaRPr lang="en-US"/>
        </a:p>
      </dgm:t>
    </dgm:pt>
    <dgm:pt modelId="{09F1EEB0-5686-469E-A1FF-A6A575826D81}">
      <dgm:prSet/>
      <dgm:spPr/>
      <dgm:t>
        <a:bodyPr/>
        <a:lstStyle/>
        <a:p>
          <a:r>
            <a:rPr lang="en-US" dirty="0"/>
            <a:t>Increasing the </a:t>
          </a:r>
          <a:r>
            <a:rPr lang="en-US" b="1" u="sng" dirty="0"/>
            <a:t>penalty parameter</a:t>
          </a:r>
          <a:r>
            <a:rPr lang="en-US" dirty="0"/>
            <a:t> </a:t>
          </a:r>
          <a:r>
            <a:rPr lang="el-GR" dirty="0"/>
            <a:t>λ</a:t>
          </a:r>
          <a:r>
            <a:rPr lang="en-US" dirty="0"/>
            <a:t> causes slope estimates of covariates with low explanatory power to “shrink” toward zero and eventually exit the model.</a:t>
          </a:r>
        </a:p>
      </dgm:t>
    </dgm:pt>
    <dgm:pt modelId="{CB52142B-A2A6-4334-9286-8BF92D4EA75E}" type="parTrans" cxnId="{A8BD2F02-BFEF-40E9-97EF-A586F9FA6E08}">
      <dgm:prSet/>
      <dgm:spPr/>
      <dgm:t>
        <a:bodyPr/>
        <a:lstStyle/>
        <a:p>
          <a:endParaRPr lang="en-US"/>
        </a:p>
      </dgm:t>
    </dgm:pt>
    <dgm:pt modelId="{A3825DF7-20D8-48FF-BDED-A0503FB42786}" type="sibTrans" cxnId="{A8BD2F02-BFEF-40E9-97EF-A586F9FA6E08}">
      <dgm:prSet/>
      <dgm:spPr/>
      <dgm:t>
        <a:bodyPr/>
        <a:lstStyle/>
        <a:p>
          <a:endParaRPr lang="en-US"/>
        </a:p>
      </dgm:t>
    </dgm:pt>
    <dgm:pt modelId="{CA748281-2A4E-4232-8AEC-432AAE910361}">
      <dgm:prSet/>
      <dgm:spPr/>
      <dgm:t>
        <a:bodyPr/>
        <a:lstStyle/>
        <a:p>
          <a:r>
            <a:rPr lang="en-US" dirty="0"/>
            <a:t>Note: hypothesis testing on </a:t>
          </a:r>
          <a:r>
            <a:rPr lang="el-GR" dirty="0"/>
            <a:t>β</a:t>
          </a:r>
          <a:r>
            <a:rPr lang="en-US" dirty="0"/>
            <a:t> is no longer valid </a:t>
          </a:r>
        </a:p>
      </dgm:t>
    </dgm:pt>
    <dgm:pt modelId="{DAA161D8-33F9-4BCF-A3A1-27403FDCE20B}" type="parTrans" cxnId="{69E01B88-5902-41CC-8AAF-92E818F75303}">
      <dgm:prSet/>
      <dgm:spPr/>
      <dgm:t>
        <a:bodyPr/>
        <a:lstStyle/>
        <a:p>
          <a:endParaRPr lang="en-US"/>
        </a:p>
      </dgm:t>
    </dgm:pt>
    <dgm:pt modelId="{3238F28C-3CFD-4E75-A926-372DD983CB43}" type="sibTrans" cxnId="{69E01B88-5902-41CC-8AAF-92E818F75303}">
      <dgm:prSet/>
      <dgm:spPr/>
      <dgm:t>
        <a:bodyPr/>
        <a:lstStyle/>
        <a:p>
          <a:endParaRPr lang="en-US"/>
        </a:p>
      </dgm:t>
    </dgm:pt>
    <dgm:pt modelId="{E170BEBB-B6E5-4217-A6CE-31BCFDC15731}">
      <dgm:prSet/>
      <dgm:spPr/>
      <dgm:t>
        <a:bodyPr/>
        <a:lstStyle/>
        <a:p>
          <a:r>
            <a:rPr lang="en-US"/>
            <a:t>Trades an increase in prediction bias for a decrease in prediction variance</a:t>
          </a:r>
        </a:p>
      </dgm:t>
    </dgm:pt>
    <dgm:pt modelId="{46D771C5-D6F5-433B-8D96-D942C1E1C5EE}" type="parTrans" cxnId="{402872B9-56BA-48BE-B705-F14C06E4E68A}">
      <dgm:prSet/>
      <dgm:spPr/>
      <dgm:t>
        <a:bodyPr/>
        <a:lstStyle/>
        <a:p>
          <a:endParaRPr lang="en-US"/>
        </a:p>
      </dgm:t>
    </dgm:pt>
    <dgm:pt modelId="{FC5CCF26-F31D-44CD-ADCB-1504F94C12EB}" type="sibTrans" cxnId="{402872B9-56BA-48BE-B705-F14C06E4E68A}">
      <dgm:prSet/>
      <dgm:spPr/>
      <dgm:t>
        <a:bodyPr/>
        <a:lstStyle/>
        <a:p>
          <a:endParaRPr lang="en-US"/>
        </a:p>
      </dgm:t>
    </dgm:pt>
    <dgm:pt modelId="{99E7DF36-3609-4B25-B485-BABB8955E2BB}">
      <dgm:prSet/>
      <dgm:spPr/>
      <dgm:t>
        <a:bodyPr/>
        <a:lstStyle/>
        <a:p>
          <a:r>
            <a:rPr lang="en-US" dirty="0"/>
            <a:t>How far should we go?</a:t>
          </a:r>
        </a:p>
      </dgm:t>
    </dgm:pt>
    <dgm:pt modelId="{E3754F91-3C82-4199-9A68-EE7EC6D95E31}" type="parTrans" cxnId="{51B1E023-F3E2-40F3-8F9F-643E07519A2D}">
      <dgm:prSet/>
      <dgm:spPr/>
      <dgm:t>
        <a:bodyPr/>
        <a:lstStyle/>
        <a:p>
          <a:endParaRPr lang="en-US"/>
        </a:p>
      </dgm:t>
    </dgm:pt>
    <dgm:pt modelId="{44E67959-DF7E-42F5-B2C5-1FBA795FBED7}" type="sibTrans" cxnId="{51B1E023-F3E2-40F3-8F9F-643E07519A2D}">
      <dgm:prSet/>
      <dgm:spPr/>
      <dgm:t>
        <a:bodyPr/>
        <a:lstStyle/>
        <a:p>
          <a:endParaRPr lang="en-US"/>
        </a:p>
      </dgm:t>
    </dgm:pt>
    <dgm:pt modelId="{2DC77BF5-4AF8-48BB-B9B3-425094454CBB}" type="pres">
      <dgm:prSet presAssocID="{D4ECF511-ECC2-4088-BB90-7D85DECCD881}" presName="Name0" presStyleCnt="0">
        <dgm:presLayoutVars>
          <dgm:dir/>
          <dgm:animLvl val="lvl"/>
          <dgm:resizeHandles val="exact"/>
        </dgm:presLayoutVars>
      </dgm:prSet>
      <dgm:spPr/>
    </dgm:pt>
    <dgm:pt modelId="{7D098BE2-867E-4CBF-A5C1-1585879C9541}" type="pres">
      <dgm:prSet presAssocID="{05561B18-5158-47B8-ACD0-E687DEDD3C47}" presName="linNode" presStyleCnt="0"/>
      <dgm:spPr/>
    </dgm:pt>
    <dgm:pt modelId="{33859BA6-4303-48A5-967B-116EAA186049}" type="pres">
      <dgm:prSet presAssocID="{05561B18-5158-47B8-ACD0-E687DEDD3C47}" presName="parentText" presStyleLbl="node1" presStyleIdx="0" presStyleCnt="2">
        <dgm:presLayoutVars>
          <dgm:chMax val="1"/>
          <dgm:bulletEnabled val="1"/>
        </dgm:presLayoutVars>
      </dgm:prSet>
      <dgm:spPr/>
    </dgm:pt>
    <dgm:pt modelId="{8D46CEAA-8F47-4D7B-939A-93266782FA23}" type="pres">
      <dgm:prSet presAssocID="{05561B18-5158-47B8-ACD0-E687DEDD3C47}" presName="descendantText" presStyleLbl="alignAccFollowNode1" presStyleIdx="0" presStyleCnt="2">
        <dgm:presLayoutVars>
          <dgm:bulletEnabled val="1"/>
        </dgm:presLayoutVars>
      </dgm:prSet>
      <dgm:spPr/>
    </dgm:pt>
    <dgm:pt modelId="{D67B1D93-DC86-4BDB-9DF8-DE8357FF1865}" type="pres">
      <dgm:prSet presAssocID="{27174C18-0917-45F2-AAFD-BBB08EB761E2}" presName="sp" presStyleCnt="0"/>
      <dgm:spPr/>
    </dgm:pt>
    <dgm:pt modelId="{E5F7388C-8356-4890-8AFF-E9C0C7F4761C}" type="pres">
      <dgm:prSet presAssocID="{09F1EEB0-5686-469E-A1FF-A6A575826D81}" presName="linNode" presStyleCnt="0"/>
      <dgm:spPr/>
    </dgm:pt>
    <dgm:pt modelId="{9E41091B-3A42-4F29-8E52-F2BEBC88D191}" type="pres">
      <dgm:prSet presAssocID="{09F1EEB0-5686-469E-A1FF-A6A575826D81}" presName="parentText" presStyleLbl="node1" presStyleIdx="1" presStyleCnt="2">
        <dgm:presLayoutVars>
          <dgm:chMax val="1"/>
          <dgm:bulletEnabled val="1"/>
        </dgm:presLayoutVars>
      </dgm:prSet>
      <dgm:spPr/>
    </dgm:pt>
    <dgm:pt modelId="{99EE2E49-2A7A-45F7-A766-E23D3AFAA6D4}" type="pres">
      <dgm:prSet presAssocID="{09F1EEB0-5686-469E-A1FF-A6A575826D81}" presName="descendantText" presStyleLbl="alignAccFollowNode1" presStyleIdx="1" presStyleCnt="2">
        <dgm:presLayoutVars>
          <dgm:bulletEnabled val="1"/>
        </dgm:presLayoutVars>
      </dgm:prSet>
      <dgm:spPr/>
    </dgm:pt>
  </dgm:ptLst>
  <dgm:cxnLst>
    <dgm:cxn modelId="{A8BD2F02-BFEF-40E9-97EF-A586F9FA6E08}" srcId="{D4ECF511-ECC2-4088-BB90-7D85DECCD881}" destId="{09F1EEB0-5686-469E-A1FF-A6A575826D81}" srcOrd="1" destOrd="0" parTransId="{CB52142B-A2A6-4334-9286-8BF92D4EA75E}" sibTransId="{A3825DF7-20D8-48FF-BDED-A0503FB42786}"/>
    <dgm:cxn modelId="{EC19BA0D-E0DA-4955-A8C3-A676E56CF28E}" type="presOf" srcId="{E170BEBB-B6E5-4217-A6CE-31BCFDC15731}" destId="{99EE2E49-2A7A-45F7-A766-E23D3AFAA6D4}" srcOrd="0" destOrd="1" presId="urn:microsoft.com/office/officeart/2005/8/layout/vList5"/>
    <dgm:cxn modelId="{51B1E023-F3E2-40F3-8F9F-643E07519A2D}" srcId="{09F1EEB0-5686-469E-A1FF-A6A575826D81}" destId="{99E7DF36-3609-4B25-B485-BABB8955E2BB}" srcOrd="2" destOrd="0" parTransId="{E3754F91-3C82-4199-9A68-EE7EC6D95E31}" sibTransId="{44E67959-DF7E-42F5-B2C5-1FBA795FBED7}"/>
    <dgm:cxn modelId="{E09FED69-1555-4C23-A9D5-6087062DEF6F}" type="presOf" srcId="{09F1EEB0-5686-469E-A1FF-A6A575826D81}" destId="{9E41091B-3A42-4F29-8E52-F2BEBC88D191}" srcOrd="0" destOrd="0" presId="urn:microsoft.com/office/officeart/2005/8/layout/vList5"/>
    <dgm:cxn modelId="{04FC086A-3B75-4775-A77E-9F418855723C}" type="presOf" srcId="{E42F79D4-7D76-47FB-8F03-63386B8E0072}" destId="{8D46CEAA-8F47-4D7B-939A-93266782FA23}" srcOrd="0" destOrd="0" presId="urn:microsoft.com/office/officeart/2005/8/layout/vList5"/>
    <dgm:cxn modelId="{B255744D-3164-4F15-A0CB-1C2C84FAA5FD}" type="presOf" srcId="{CA748281-2A4E-4232-8AEC-432AAE910361}" destId="{99EE2E49-2A7A-45F7-A766-E23D3AFAA6D4}" srcOrd="0" destOrd="0" presId="urn:microsoft.com/office/officeart/2005/8/layout/vList5"/>
    <dgm:cxn modelId="{DDBDB04F-FE38-4583-B0C2-6C4077418048}" type="presOf" srcId="{05561B18-5158-47B8-ACD0-E687DEDD3C47}" destId="{33859BA6-4303-48A5-967B-116EAA186049}" srcOrd="0" destOrd="0" presId="urn:microsoft.com/office/officeart/2005/8/layout/vList5"/>
    <dgm:cxn modelId="{69E01B88-5902-41CC-8AAF-92E818F75303}" srcId="{09F1EEB0-5686-469E-A1FF-A6A575826D81}" destId="{CA748281-2A4E-4232-8AEC-432AAE910361}" srcOrd="0" destOrd="0" parTransId="{DAA161D8-33F9-4BCF-A3A1-27403FDCE20B}" sibTransId="{3238F28C-3CFD-4E75-A926-372DD983CB43}"/>
    <dgm:cxn modelId="{386485A1-3B79-4C23-85E8-9283B387B822}" srcId="{D4ECF511-ECC2-4088-BB90-7D85DECCD881}" destId="{05561B18-5158-47B8-ACD0-E687DEDD3C47}" srcOrd="0" destOrd="0" parTransId="{3D2DBD08-34E1-426E-8923-AB818A98E852}" sibTransId="{27174C18-0917-45F2-AAFD-BBB08EB761E2}"/>
    <dgm:cxn modelId="{1B00AFB7-FE30-41AA-A542-7B1F72571F84}" type="presOf" srcId="{99E7DF36-3609-4B25-B485-BABB8955E2BB}" destId="{99EE2E49-2A7A-45F7-A766-E23D3AFAA6D4}" srcOrd="0" destOrd="2" presId="urn:microsoft.com/office/officeart/2005/8/layout/vList5"/>
    <dgm:cxn modelId="{402872B9-56BA-48BE-B705-F14C06E4E68A}" srcId="{09F1EEB0-5686-469E-A1FF-A6A575826D81}" destId="{E170BEBB-B6E5-4217-A6CE-31BCFDC15731}" srcOrd="1" destOrd="0" parTransId="{46D771C5-D6F5-433B-8D96-D942C1E1C5EE}" sibTransId="{FC5CCF26-F31D-44CD-ADCB-1504F94C12EB}"/>
    <dgm:cxn modelId="{AE8A47E8-FD03-4EA2-9DC5-ADD6AD7FCC82}" srcId="{05561B18-5158-47B8-ACD0-E687DEDD3C47}" destId="{E42F79D4-7D76-47FB-8F03-63386B8E0072}" srcOrd="0" destOrd="0" parTransId="{E8FD88B7-8D08-4E81-9E81-7ACE926D91B9}" sibTransId="{6296A3DC-8A75-47E2-9807-3DD331023488}"/>
    <dgm:cxn modelId="{DF9D40F1-DD80-4219-8AF7-3DA4B9C07656}" type="presOf" srcId="{D4ECF511-ECC2-4088-BB90-7D85DECCD881}" destId="{2DC77BF5-4AF8-48BB-B9B3-425094454CBB}" srcOrd="0" destOrd="0" presId="urn:microsoft.com/office/officeart/2005/8/layout/vList5"/>
    <dgm:cxn modelId="{4D7CDD63-F3D5-4AF5-9CED-D965928EB41A}" type="presParOf" srcId="{2DC77BF5-4AF8-48BB-B9B3-425094454CBB}" destId="{7D098BE2-867E-4CBF-A5C1-1585879C9541}" srcOrd="0" destOrd="0" presId="urn:microsoft.com/office/officeart/2005/8/layout/vList5"/>
    <dgm:cxn modelId="{AC092AB1-6B95-4490-9AD6-0CEBD6753A0E}" type="presParOf" srcId="{7D098BE2-867E-4CBF-A5C1-1585879C9541}" destId="{33859BA6-4303-48A5-967B-116EAA186049}" srcOrd="0" destOrd="0" presId="urn:microsoft.com/office/officeart/2005/8/layout/vList5"/>
    <dgm:cxn modelId="{EFF0A7F1-34A8-4A68-97B4-BB1DF38692CD}" type="presParOf" srcId="{7D098BE2-867E-4CBF-A5C1-1585879C9541}" destId="{8D46CEAA-8F47-4D7B-939A-93266782FA23}" srcOrd="1" destOrd="0" presId="urn:microsoft.com/office/officeart/2005/8/layout/vList5"/>
    <dgm:cxn modelId="{783A7576-E106-46E6-A4D1-A93986D2F2ED}" type="presParOf" srcId="{2DC77BF5-4AF8-48BB-B9B3-425094454CBB}" destId="{D67B1D93-DC86-4BDB-9DF8-DE8357FF1865}" srcOrd="1" destOrd="0" presId="urn:microsoft.com/office/officeart/2005/8/layout/vList5"/>
    <dgm:cxn modelId="{795806E9-B4EB-49A0-948C-2D70840F1634}" type="presParOf" srcId="{2DC77BF5-4AF8-48BB-B9B3-425094454CBB}" destId="{E5F7388C-8356-4890-8AFF-E9C0C7F4761C}" srcOrd="2" destOrd="0" presId="urn:microsoft.com/office/officeart/2005/8/layout/vList5"/>
    <dgm:cxn modelId="{18E1F6CD-9599-4CF2-8E49-971F476C908A}" type="presParOf" srcId="{E5F7388C-8356-4890-8AFF-E9C0C7F4761C}" destId="{9E41091B-3A42-4F29-8E52-F2BEBC88D191}" srcOrd="0" destOrd="0" presId="urn:microsoft.com/office/officeart/2005/8/layout/vList5"/>
    <dgm:cxn modelId="{AD9963FB-80A3-4AEB-B948-293D2F417AC3}" type="presParOf" srcId="{E5F7388C-8356-4890-8AFF-E9C0C7F4761C}" destId="{99EE2E49-2A7A-45F7-A766-E23D3AFAA6D4}"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30771DB-A91F-4C3A-91AE-51153981CA44}"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95A9E72B-F240-439C-B065-C131598D6E36}">
      <dgm:prSet custT="1"/>
      <dgm:spPr/>
      <dgm:t>
        <a:bodyPr/>
        <a:lstStyle/>
        <a:p>
          <a:r>
            <a:rPr lang="en-US" sz="2000" dirty="0"/>
            <a:t>LASSO actually performed a little worse than linear regression!</a:t>
          </a:r>
        </a:p>
      </dgm:t>
    </dgm:pt>
    <dgm:pt modelId="{111CAEB0-C5FF-4250-ADF9-772A3D99B58C}" type="parTrans" cxnId="{8DEEDE14-130F-4690-A649-7BC37E37E77C}">
      <dgm:prSet/>
      <dgm:spPr/>
      <dgm:t>
        <a:bodyPr/>
        <a:lstStyle/>
        <a:p>
          <a:endParaRPr lang="en-US"/>
        </a:p>
      </dgm:t>
    </dgm:pt>
    <dgm:pt modelId="{69C9696E-BA7A-4CAE-967D-86B5AD1E5FD1}" type="sibTrans" cxnId="{8DEEDE14-130F-4690-A649-7BC37E37E77C}">
      <dgm:prSet/>
      <dgm:spPr/>
      <dgm:t>
        <a:bodyPr/>
        <a:lstStyle/>
        <a:p>
          <a:endParaRPr lang="en-US"/>
        </a:p>
      </dgm:t>
    </dgm:pt>
    <dgm:pt modelId="{E11027DA-ADE0-49A4-8183-8A5B8975D84E}">
      <dgm:prSet custT="1"/>
      <dgm:spPr/>
      <dgm:t>
        <a:bodyPr/>
        <a:lstStyle/>
        <a:p>
          <a:r>
            <a:rPr lang="en-US" sz="2400"/>
            <a:t>Why?</a:t>
          </a:r>
        </a:p>
      </dgm:t>
    </dgm:pt>
    <dgm:pt modelId="{1CD3B9CE-3F13-4F43-B19E-73A424CAE4DB}" type="parTrans" cxnId="{872312EB-985C-4002-B76F-B032DD05CAD0}">
      <dgm:prSet/>
      <dgm:spPr/>
      <dgm:t>
        <a:bodyPr/>
        <a:lstStyle/>
        <a:p>
          <a:endParaRPr lang="en-US"/>
        </a:p>
      </dgm:t>
    </dgm:pt>
    <dgm:pt modelId="{D79D977F-D51C-4A66-B17A-B5D6372F881B}" type="sibTrans" cxnId="{872312EB-985C-4002-B76F-B032DD05CAD0}">
      <dgm:prSet/>
      <dgm:spPr/>
      <dgm:t>
        <a:bodyPr/>
        <a:lstStyle/>
        <a:p>
          <a:endParaRPr lang="en-US"/>
        </a:p>
      </dgm:t>
    </dgm:pt>
    <dgm:pt modelId="{BACD1EDC-D66E-4027-923B-57A9CFAD8F3A}">
      <dgm:prSet custT="1"/>
      <dgm:spPr/>
      <dgm:t>
        <a:bodyPr/>
        <a:lstStyle/>
        <a:p>
          <a:r>
            <a:rPr lang="en-US" sz="1800" dirty="0"/>
            <a:t>Only about half of the predictors were false targets</a:t>
          </a:r>
        </a:p>
      </dgm:t>
    </dgm:pt>
    <dgm:pt modelId="{399E68EA-57F7-4ADF-8CF5-4968EF70BFEC}" type="parTrans" cxnId="{6B44A5DE-4D8F-4108-A82C-EE181EA7CDFD}">
      <dgm:prSet/>
      <dgm:spPr/>
      <dgm:t>
        <a:bodyPr/>
        <a:lstStyle/>
        <a:p>
          <a:endParaRPr lang="en-US"/>
        </a:p>
      </dgm:t>
    </dgm:pt>
    <dgm:pt modelId="{728DB864-0D66-408A-9AC7-7F951F48C97D}" type="sibTrans" cxnId="{6B44A5DE-4D8F-4108-A82C-EE181EA7CDFD}">
      <dgm:prSet/>
      <dgm:spPr/>
      <dgm:t>
        <a:bodyPr/>
        <a:lstStyle/>
        <a:p>
          <a:endParaRPr lang="en-US"/>
        </a:p>
      </dgm:t>
    </dgm:pt>
    <dgm:pt modelId="{933F49BD-9592-4366-8E04-4F9F890E32CA}">
      <dgm:prSet custT="1"/>
      <dgm:spPr/>
      <dgm:t>
        <a:bodyPr/>
        <a:lstStyle/>
        <a:p>
          <a:r>
            <a:rPr lang="en-US" sz="1800" dirty="0"/>
            <a:t>Relatively large sample size means linear regression predictions are  fairly stable</a:t>
          </a:r>
        </a:p>
      </dgm:t>
    </dgm:pt>
    <dgm:pt modelId="{5E17205B-E720-43AC-A8F1-C2B5BF6D6BAC}" type="parTrans" cxnId="{75D9BB7B-EE68-4229-B56F-209B018AB44F}">
      <dgm:prSet/>
      <dgm:spPr/>
      <dgm:t>
        <a:bodyPr/>
        <a:lstStyle/>
        <a:p>
          <a:endParaRPr lang="en-US"/>
        </a:p>
      </dgm:t>
    </dgm:pt>
    <dgm:pt modelId="{2B104BD3-ECD8-47F1-9EB4-F4EBE54AA356}" type="sibTrans" cxnId="{75D9BB7B-EE68-4229-B56F-209B018AB44F}">
      <dgm:prSet/>
      <dgm:spPr/>
      <dgm:t>
        <a:bodyPr/>
        <a:lstStyle/>
        <a:p>
          <a:endParaRPr lang="en-US"/>
        </a:p>
      </dgm:t>
    </dgm:pt>
    <dgm:pt modelId="{3EDE5D56-FCC1-407A-BD8C-9227CFFB2A03}" type="pres">
      <dgm:prSet presAssocID="{E30771DB-A91F-4C3A-91AE-51153981CA44}" presName="diagram" presStyleCnt="0">
        <dgm:presLayoutVars>
          <dgm:chPref val="1"/>
          <dgm:dir/>
          <dgm:animOne val="branch"/>
          <dgm:animLvl val="lvl"/>
          <dgm:resizeHandles val="exact"/>
        </dgm:presLayoutVars>
      </dgm:prSet>
      <dgm:spPr/>
    </dgm:pt>
    <dgm:pt modelId="{C1956638-8FCA-4670-BBC5-3FA49E5606B8}" type="pres">
      <dgm:prSet presAssocID="{95A9E72B-F240-439C-B065-C131598D6E36}" presName="root1" presStyleCnt="0"/>
      <dgm:spPr/>
    </dgm:pt>
    <dgm:pt modelId="{2B375433-4C8A-46A2-B64B-3F65AD578ED1}" type="pres">
      <dgm:prSet presAssocID="{95A9E72B-F240-439C-B065-C131598D6E36}" presName="LevelOneTextNode" presStyleLbl="node0" presStyleIdx="0" presStyleCnt="2" custScaleX="110539" custScaleY="138131">
        <dgm:presLayoutVars>
          <dgm:chPref val="3"/>
        </dgm:presLayoutVars>
      </dgm:prSet>
      <dgm:spPr/>
    </dgm:pt>
    <dgm:pt modelId="{4549603B-9E66-4DF4-87B2-FE8C0AB6AAEE}" type="pres">
      <dgm:prSet presAssocID="{95A9E72B-F240-439C-B065-C131598D6E36}" presName="level2hierChild" presStyleCnt="0"/>
      <dgm:spPr/>
    </dgm:pt>
    <dgm:pt modelId="{8F8A9169-E77B-4229-9B17-AF9A310E621D}" type="pres">
      <dgm:prSet presAssocID="{E11027DA-ADE0-49A4-8183-8A5B8975D84E}" presName="root1" presStyleCnt="0"/>
      <dgm:spPr/>
    </dgm:pt>
    <dgm:pt modelId="{C481357B-29E2-409E-9E08-C5FB6F92452F}" type="pres">
      <dgm:prSet presAssocID="{E11027DA-ADE0-49A4-8183-8A5B8975D84E}" presName="LevelOneTextNode" presStyleLbl="node0" presStyleIdx="1" presStyleCnt="2" custScaleX="111249" custScaleY="99381">
        <dgm:presLayoutVars>
          <dgm:chPref val="3"/>
        </dgm:presLayoutVars>
      </dgm:prSet>
      <dgm:spPr/>
    </dgm:pt>
    <dgm:pt modelId="{D2247B59-00A3-464C-BB25-34DECF0D6E1C}" type="pres">
      <dgm:prSet presAssocID="{E11027DA-ADE0-49A4-8183-8A5B8975D84E}" presName="level2hierChild" presStyleCnt="0"/>
      <dgm:spPr/>
    </dgm:pt>
    <dgm:pt modelId="{E1163164-DA68-4E80-BCF3-DA1A6AC2B7EA}" type="pres">
      <dgm:prSet presAssocID="{399E68EA-57F7-4ADF-8CF5-4968EF70BFEC}" presName="conn2-1" presStyleLbl="parChTrans1D2" presStyleIdx="0" presStyleCnt="2"/>
      <dgm:spPr/>
    </dgm:pt>
    <dgm:pt modelId="{11BE53B1-719C-400F-8CDE-5D71D887CEB3}" type="pres">
      <dgm:prSet presAssocID="{399E68EA-57F7-4ADF-8CF5-4968EF70BFEC}" presName="connTx" presStyleLbl="parChTrans1D2" presStyleIdx="0" presStyleCnt="2"/>
      <dgm:spPr/>
    </dgm:pt>
    <dgm:pt modelId="{2768289E-E7AD-43BA-9C2E-141EB3B947B5}" type="pres">
      <dgm:prSet presAssocID="{BACD1EDC-D66E-4027-923B-57A9CFAD8F3A}" presName="root2" presStyleCnt="0"/>
      <dgm:spPr/>
    </dgm:pt>
    <dgm:pt modelId="{BD5EEB72-972B-4766-B3E8-7B05E87CF03F}" type="pres">
      <dgm:prSet presAssocID="{BACD1EDC-D66E-4027-923B-57A9CFAD8F3A}" presName="LevelTwoTextNode" presStyleLbl="node2" presStyleIdx="0" presStyleCnt="2" custScaleY="151894">
        <dgm:presLayoutVars>
          <dgm:chPref val="3"/>
        </dgm:presLayoutVars>
      </dgm:prSet>
      <dgm:spPr/>
    </dgm:pt>
    <dgm:pt modelId="{990F5115-5939-4B32-8986-666CC4AB5D26}" type="pres">
      <dgm:prSet presAssocID="{BACD1EDC-D66E-4027-923B-57A9CFAD8F3A}" presName="level3hierChild" presStyleCnt="0"/>
      <dgm:spPr/>
    </dgm:pt>
    <dgm:pt modelId="{16F91C44-261E-482F-8D24-8A226AD04A4F}" type="pres">
      <dgm:prSet presAssocID="{5E17205B-E720-43AC-A8F1-C2B5BF6D6BAC}" presName="conn2-1" presStyleLbl="parChTrans1D2" presStyleIdx="1" presStyleCnt="2"/>
      <dgm:spPr/>
    </dgm:pt>
    <dgm:pt modelId="{B4881E4B-CA57-4211-BE63-529478547230}" type="pres">
      <dgm:prSet presAssocID="{5E17205B-E720-43AC-A8F1-C2B5BF6D6BAC}" presName="connTx" presStyleLbl="parChTrans1D2" presStyleIdx="1" presStyleCnt="2"/>
      <dgm:spPr/>
    </dgm:pt>
    <dgm:pt modelId="{872F85D7-1A9C-46D0-A32C-F2736EDEED49}" type="pres">
      <dgm:prSet presAssocID="{933F49BD-9592-4366-8E04-4F9F890E32CA}" presName="root2" presStyleCnt="0"/>
      <dgm:spPr/>
    </dgm:pt>
    <dgm:pt modelId="{2B683DE4-A8FB-48FE-9728-C8BED778EB85}" type="pres">
      <dgm:prSet presAssocID="{933F49BD-9592-4366-8E04-4F9F890E32CA}" presName="LevelTwoTextNode" presStyleLbl="node2" presStyleIdx="1" presStyleCnt="2" custScaleY="155010">
        <dgm:presLayoutVars>
          <dgm:chPref val="3"/>
        </dgm:presLayoutVars>
      </dgm:prSet>
      <dgm:spPr/>
    </dgm:pt>
    <dgm:pt modelId="{9C0FE142-DD75-48C9-9D78-1CF4C44A2623}" type="pres">
      <dgm:prSet presAssocID="{933F49BD-9592-4366-8E04-4F9F890E32CA}" presName="level3hierChild" presStyleCnt="0"/>
      <dgm:spPr/>
    </dgm:pt>
  </dgm:ptLst>
  <dgm:cxnLst>
    <dgm:cxn modelId="{8DEEDE14-130F-4690-A649-7BC37E37E77C}" srcId="{E30771DB-A91F-4C3A-91AE-51153981CA44}" destId="{95A9E72B-F240-439C-B065-C131598D6E36}" srcOrd="0" destOrd="0" parTransId="{111CAEB0-C5FF-4250-ADF9-772A3D99B58C}" sibTransId="{69C9696E-BA7A-4CAE-967D-86B5AD1E5FD1}"/>
    <dgm:cxn modelId="{76877C15-95F4-4A45-96DF-B0DBA1FF0108}" type="presOf" srcId="{399E68EA-57F7-4ADF-8CF5-4968EF70BFEC}" destId="{E1163164-DA68-4E80-BCF3-DA1A6AC2B7EA}" srcOrd="0" destOrd="0" presId="urn:microsoft.com/office/officeart/2005/8/layout/hierarchy2"/>
    <dgm:cxn modelId="{6F097E2A-AA46-4BA4-8B9A-D13BE4BF6524}" type="presOf" srcId="{399E68EA-57F7-4ADF-8CF5-4968EF70BFEC}" destId="{11BE53B1-719C-400F-8CDE-5D71D887CEB3}" srcOrd="1" destOrd="0" presId="urn:microsoft.com/office/officeart/2005/8/layout/hierarchy2"/>
    <dgm:cxn modelId="{6BF1AF2B-4F76-452F-8DC2-AE792CAF4BDD}" type="presOf" srcId="{E30771DB-A91F-4C3A-91AE-51153981CA44}" destId="{3EDE5D56-FCC1-407A-BD8C-9227CFFB2A03}" srcOrd="0" destOrd="0" presId="urn:microsoft.com/office/officeart/2005/8/layout/hierarchy2"/>
    <dgm:cxn modelId="{A19ADE32-B603-4D55-ACBD-3B5DB70EB7D5}" type="presOf" srcId="{5E17205B-E720-43AC-A8F1-C2B5BF6D6BAC}" destId="{16F91C44-261E-482F-8D24-8A226AD04A4F}" srcOrd="0" destOrd="0" presId="urn:microsoft.com/office/officeart/2005/8/layout/hierarchy2"/>
    <dgm:cxn modelId="{5014E133-E903-452E-8268-72FF311E4E72}" type="presOf" srcId="{E11027DA-ADE0-49A4-8183-8A5B8975D84E}" destId="{C481357B-29E2-409E-9E08-C5FB6F92452F}" srcOrd="0" destOrd="0" presId="urn:microsoft.com/office/officeart/2005/8/layout/hierarchy2"/>
    <dgm:cxn modelId="{F402823C-000A-4A36-BD2E-EE3B16BA3A4B}" type="presOf" srcId="{933F49BD-9592-4366-8E04-4F9F890E32CA}" destId="{2B683DE4-A8FB-48FE-9728-C8BED778EB85}" srcOrd="0" destOrd="0" presId="urn:microsoft.com/office/officeart/2005/8/layout/hierarchy2"/>
    <dgm:cxn modelId="{8D2B8744-E2E8-4013-B0E7-CD4225BCCAFF}" type="presOf" srcId="{95A9E72B-F240-439C-B065-C131598D6E36}" destId="{2B375433-4C8A-46A2-B64B-3F65AD578ED1}" srcOrd="0" destOrd="0" presId="urn:microsoft.com/office/officeart/2005/8/layout/hierarchy2"/>
    <dgm:cxn modelId="{EEF5D16D-7F7B-4C4A-85DA-C21A414BC2A7}" type="presOf" srcId="{5E17205B-E720-43AC-A8F1-C2B5BF6D6BAC}" destId="{B4881E4B-CA57-4211-BE63-529478547230}" srcOrd="1" destOrd="0" presId="urn:microsoft.com/office/officeart/2005/8/layout/hierarchy2"/>
    <dgm:cxn modelId="{75D9BB7B-EE68-4229-B56F-209B018AB44F}" srcId="{E11027DA-ADE0-49A4-8183-8A5B8975D84E}" destId="{933F49BD-9592-4366-8E04-4F9F890E32CA}" srcOrd="1" destOrd="0" parTransId="{5E17205B-E720-43AC-A8F1-C2B5BF6D6BAC}" sibTransId="{2B104BD3-ECD8-47F1-9EB4-F4EBE54AA356}"/>
    <dgm:cxn modelId="{D1A644B6-1A90-47E5-9162-FB5A917CBB87}" type="presOf" srcId="{BACD1EDC-D66E-4027-923B-57A9CFAD8F3A}" destId="{BD5EEB72-972B-4766-B3E8-7B05E87CF03F}" srcOrd="0" destOrd="0" presId="urn:microsoft.com/office/officeart/2005/8/layout/hierarchy2"/>
    <dgm:cxn modelId="{6B44A5DE-4D8F-4108-A82C-EE181EA7CDFD}" srcId="{E11027DA-ADE0-49A4-8183-8A5B8975D84E}" destId="{BACD1EDC-D66E-4027-923B-57A9CFAD8F3A}" srcOrd="0" destOrd="0" parTransId="{399E68EA-57F7-4ADF-8CF5-4968EF70BFEC}" sibTransId="{728DB864-0D66-408A-9AC7-7F951F48C97D}"/>
    <dgm:cxn modelId="{872312EB-985C-4002-B76F-B032DD05CAD0}" srcId="{E30771DB-A91F-4C3A-91AE-51153981CA44}" destId="{E11027DA-ADE0-49A4-8183-8A5B8975D84E}" srcOrd="1" destOrd="0" parTransId="{1CD3B9CE-3F13-4F43-B19E-73A424CAE4DB}" sibTransId="{D79D977F-D51C-4A66-B17A-B5D6372F881B}"/>
    <dgm:cxn modelId="{4FB73181-6490-4E76-8AF1-F1671C5E4A17}" type="presParOf" srcId="{3EDE5D56-FCC1-407A-BD8C-9227CFFB2A03}" destId="{C1956638-8FCA-4670-BBC5-3FA49E5606B8}" srcOrd="0" destOrd="0" presId="urn:microsoft.com/office/officeart/2005/8/layout/hierarchy2"/>
    <dgm:cxn modelId="{B8985F35-E44F-488A-AF7C-DFD7E3915981}" type="presParOf" srcId="{C1956638-8FCA-4670-BBC5-3FA49E5606B8}" destId="{2B375433-4C8A-46A2-B64B-3F65AD578ED1}" srcOrd="0" destOrd="0" presId="urn:microsoft.com/office/officeart/2005/8/layout/hierarchy2"/>
    <dgm:cxn modelId="{8A2BEC31-47E4-4120-ADF9-245351860FE4}" type="presParOf" srcId="{C1956638-8FCA-4670-BBC5-3FA49E5606B8}" destId="{4549603B-9E66-4DF4-87B2-FE8C0AB6AAEE}" srcOrd="1" destOrd="0" presId="urn:microsoft.com/office/officeart/2005/8/layout/hierarchy2"/>
    <dgm:cxn modelId="{A43FB4C0-1334-4325-82FA-445B00141A08}" type="presParOf" srcId="{3EDE5D56-FCC1-407A-BD8C-9227CFFB2A03}" destId="{8F8A9169-E77B-4229-9B17-AF9A310E621D}" srcOrd="1" destOrd="0" presId="urn:microsoft.com/office/officeart/2005/8/layout/hierarchy2"/>
    <dgm:cxn modelId="{4A020668-C5C2-4FBB-8278-575CE20EDDED}" type="presParOf" srcId="{8F8A9169-E77B-4229-9B17-AF9A310E621D}" destId="{C481357B-29E2-409E-9E08-C5FB6F92452F}" srcOrd="0" destOrd="0" presId="urn:microsoft.com/office/officeart/2005/8/layout/hierarchy2"/>
    <dgm:cxn modelId="{E844A810-6051-437B-936B-1781AEB273EE}" type="presParOf" srcId="{8F8A9169-E77B-4229-9B17-AF9A310E621D}" destId="{D2247B59-00A3-464C-BB25-34DECF0D6E1C}" srcOrd="1" destOrd="0" presId="urn:microsoft.com/office/officeart/2005/8/layout/hierarchy2"/>
    <dgm:cxn modelId="{6416A7F1-B41A-440D-B87F-4164E25366F1}" type="presParOf" srcId="{D2247B59-00A3-464C-BB25-34DECF0D6E1C}" destId="{E1163164-DA68-4E80-BCF3-DA1A6AC2B7EA}" srcOrd="0" destOrd="0" presId="urn:microsoft.com/office/officeart/2005/8/layout/hierarchy2"/>
    <dgm:cxn modelId="{4A94A21B-54FC-40F9-B83B-FF6274E245C5}" type="presParOf" srcId="{E1163164-DA68-4E80-BCF3-DA1A6AC2B7EA}" destId="{11BE53B1-719C-400F-8CDE-5D71D887CEB3}" srcOrd="0" destOrd="0" presId="urn:microsoft.com/office/officeart/2005/8/layout/hierarchy2"/>
    <dgm:cxn modelId="{78BD43D2-BFCF-4294-A38F-8BAFA94148E5}" type="presParOf" srcId="{D2247B59-00A3-464C-BB25-34DECF0D6E1C}" destId="{2768289E-E7AD-43BA-9C2E-141EB3B947B5}" srcOrd="1" destOrd="0" presId="urn:microsoft.com/office/officeart/2005/8/layout/hierarchy2"/>
    <dgm:cxn modelId="{94491216-19DC-47D3-AFFA-C8949FFAFE0F}" type="presParOf" srcId="{2768289E-E7AD-43BA-9C2E-141EB3B947B5}" destId="{BD5EEB72-972B-4766-B3E8-7B05E87CF03F}" srcOrd="0" destOrd="0" presId="urn:microsoft.com/office/officeart/2005/8/layout/hierarchy2"/>
    <dgm:cxn modelId="{2385B04B-43FA-496D-8DC1-2571248F94DC}" type="presParOf" srcId="{2768289E-E7AD-43BA-9C2E-141EB3B947B5}" destId="{990F5115-5939-4B32-8986-666CC4AB5D26}" srcOrd="1" destOrd="0" presId="urn:microsoft.com/office/officeart/2005/8/layout/hierarchy2"/>
    <dgm:cxn modelId="{55B75A6D-FA33-40F2-8CD1-EF93DAAA6F7A}" type="presParOf" srcId="{D2247B59-00A3-464C-BB25-34DECF0D6E1C}" destId="{16F91C44-261E-482F-8D24-8A226AD04A4F}" srcOrd="2" destOrd="0" presId="urn:microsoft.com/office/officeart/2005/8/layout/hierarchy2"/>
    <dgm:cxn modelId="{D1207388-9747-4130-AAFE-90040DD5BD28}" type="presParOf" srcId="{16F91C44-261E-482F-8D24-8A226AD04A4F}" destId="{B4881E4B-CA57-4211-BE63-529478547230}" srcOrd="0" destOrd="0" presId="urn:microsoft.com/office/officeart/2005/8/layout/hierarchy2"/>
    <dgm:cxn modelId="{CEAB9780-AB01-4A1D-800B-F1A7195E4CCA}" type="presParOf" srcId="{D2247B59-00A3-464C-BB25-34DECF0D6E1C}" destId="{872F85D7-1A9C-46D0-A32C-F2736EDEED49}" srcOrd="3" destOrd="0" presId="urn:microsoft.com/office/officeart/2005/8/layout/hierarchy2"/>
    <dgm:cxn modelId="{AB431B33-74CD-42BC-9536-980193D73B6B}" type="presParOf" srcId="{872F85D7-1A9C-46D0-A32C-F2736EDEED49}" destId="{2B683DE4-A8FB-48FE-9728-C8BED778EB85}" srcOrd="0" destOrd="0" presId="urn:microsoft.com/office/officeart/2005/8/layout/hierarchy2"/>
    <dgm:cxn modelId="{DF4D855C-EB20-4064-A722-623DA2244B8A}" type="presParOf" srcId="{872F85D7-1A9C-46D0-A32C-F2736EDEED49}" destId="{9C0FE142-DD75-48C9-9D78-1CF4C44A2623}"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D8F0C7-4506-434A-96FC-163286051F4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3ED91556-3EDC-4DE9-A747-A993373D595B}">
      <dgm:prSet custT="1"/>
      <dgm:spPr/>
      <dgm:t>
        <a:bodyPr/>
        <a:lstStyle/>
        <a:p>
          <a:r>
            <a:rPr lang="en-US" sz="1600"/>
            <a:t>The single “optimal” tree didn’t do any better (in fact significantly worse) than linear regression</a:t>
          </a:r>
        </a:p>
      </dgm:t>
    </dgm:pt>
    <dgm:pt modelId="{0B92B585-5C17-4F34-8E1A-E1287FBF3EFA}" type="parTrans" cxnId="{DF8A144F-CDE9-4BD4-8B63-2D4FA239CB4C}">
      <dgm:prSet/>
      <dgm:spPr/>
      <dgm:t>
        <a:bodyPr/>
        <a:lstStyle/>
        <a:p>
          <a:endParaRPr lang="en-US" sz="2000"/>
        </a:p>
      </dgm:t>
    </dgm:pt>
    <dgm:pt modelId="{1EBEED62-380C-4582-9641-EA7B25C4D67C}" type="sibTrans" cxnId="{DF8A144F-CDE9-4BD4-8B63-2D4FA239CB4C}">
      <dgm:prSet/>
      <dgm:spPr/>
      <dgm:t>
        <a:bodyPr/>
        <a:lstStyle/>
        <a:p>
          <a:endParaRPr lang="en-US" sz="2000"/>
        </a:p>
      </dgm:t>
    </dgm:pt>
    <dgm:pt modelId="{718FEF66-C718-4061-B9C8-8D051C53E1D7}">
      <dgm:prSet custT="1"/>
      <dgm:spPr/>
      <dgm:t>
        <a:bodyPr/>
        <a:lstStyle/>
        <a:p>
          <a:r>
            <a:rPr lang="en-US" sz="1600" dirty="0"/>
            <a:t>What if a small subset of observations overly influenced tree construction?</a:t>
          </a:r>
        </a:p>
      </dgm:t>
    </dgm:pt>
    <dgm:pt modelId="{1DCC2147-6E31-4B68-9E65-339A8C95CEE5}" type="parTrans" cxnId="{FFE24C8A-7DAF-4D84-8B94-0A661E455925}">
      <dgm:prSet custT="1"/>
      <dgm:spPr/>
      <dgm:t>
        <a:bodyPr/>
        <a:lstStyle/>
        <a:p>
          <a:endParaRPr lang="en-US" sz="600"/>
        </a:p>
      </dgm:t>
    </dgm:pt>
    <dgm:pt modelId="{F2A9F3F7-6CF6-4321-99A8-A0D791C2BCE6}" type="sibTrans" cxnId="{FFE24C8A-7DAF-4D84-8B94-0A661E455925}">
      <dgm:prSet/>
      <dgm:spPr/>
      <dgm:t>
        <a:bodyPr/>
        <a:lstStyle/>
        <a:p>
          <a:endParaRPr lang="en-US" sz="2000"/>
        </a:p>
      </dgm:t>
    </dgm:pt>
    <dgm:pt modelId="{CD66EA63-3A96-41B8-A47C-42541A2D7F60}">
      <dgm:prSet custT="1"/>
      <dgm:spPr/>
      <dgm:t>
        <a:bodyPr/>
        <a:lstStyle/>
        <a:p>
          <a:r>
            <a:rPr lang="en-US" sz="1600" dirty="0"/>
            <a:t>What if we had chosen a different variable to split the tree differently at the top? We might have gotten a radically different tree…or lots of different trees…</a:t>
          </a:r>
        </a:p>
      </dgm:t>
    </dgm:pt>
    <dgm:pt modelId="{EF97CEC8-E927-4A14-8272-14FAAEE766FA}" type="parTrans" cxnId="{2EFFE7BF-5549-4E60-BF1B-709FEA15E412}">
      <dgm:prSet custT="1"/>
      <dgm:spPr/>
      <dgm:t>
        <a:bodyPr/>
        <a:lstStyle/>
        <a:p>
          <a:endParaRPr lang="en-US" sz="600"/>
        </a:p>
      </dgm:t>
    </dgm:pt>
    <dgm:pt modelId="{F114CDC5-35FD-4D6F-A8BE-51C8787657BA}" type="sibTrans" cxnId="{2EFFE7BF-5549-4E60-BF1B-709FEA15E412}">
      <dgm:prSet/>
      <dgm:spPr/>
      <dgm:t>
        <a:bodyPr/>
        <a:lstStyle/>
        <a:p>
          <a:endParaRPr lang="en-US" sz="2000"/>
        </a:p>
      </dgm:t>
    </dgm:pt>
    <dgm:pt modelId="{8ACCE32B-7BDA-4B85-9CEA-26978805EFE7}" type="pres">
      <dgm:prSet presAssocID="{D0D8F0C7-4506-434A-96FC-163286051F4C}" presName="diagram" presStyleCnt="0">
        <dgm:presLayoutVars>
          <dgm:chPref val="1"/>
          <dgm:dir/>
          <dgm:animOne val="branch"/>
          <dgm:animLvl val="lvl"/>
          <dgm:resizeHandles val="exact"/>
        </dgm:presLayoutVars>
      </dgm:prSet>
      <dgm:spPr/>
    </dgm:pt>
    <dgm:pt modelId="{DC6735BD-23AF-4B58-BB6A-B7BB4E12D651}" type="pres">
      <dgm:prSet presAssocID="{3ED91556-3EDC-4DE9-A747-A993373D595B}" presName="root1" presStyleCnt="0"/>
      <dgm:spPr/>
    </dgm:pt>
    <dgm:pt modelId="{3A55772C-1829-47C9-9496-AB7E04A6B977}" type="pres">
      <dgm:prSet presAssocID="{3ED91556-3EDC-4DE9-A747-A993373D595B}" presName="LevelOneTextNode" presStyleLbl="node0" presStyleIdx="0" presStyleCnt="1">
        <dgm:presLayoutVars>
          <dgm:chPref val="3"/>
        </dgm:presLayoutVars>
      </dgm:prSet>
      <dgm:spPr/>
    </dgm:pt>
    <dgm:pt modelId="{59571A1C-55DA-476F-B2EA-46C7942474ED}" type="pres">
      <dgm:prSet presAssocID="{3ED91556-3EDC-4DE9-A747-A993373D595B}" presName="level2hierChild" presStyleCnt="0"/>
      <dgm:spPr/>
    </dgm:pt>
    <dgm:pt modelId="{FEE5B3D6-58AD-4C28-9162-9ADEFED59D6F}" type="pres">
      <dgm:prSet presAssocID="{1DCC2147-6E31-4B68-9E65-339A8C95CEE5}" presName="conn2-1" presStyleLbl="parChTrans1D2" presStyleIdx="0" presStyleCnt="2"/>
      <dgm:spPr/>
    </dgm:pt>
    <dgm:pt modelId="{F985A5A9-1D3E-4D11-9166-66F60863E28D}" type="pres">
      <dgm:prSet presAssocID="{1DCC2147-6E31-4B68-9E65-339A8C95CEE5}" presName="connTx" presStyleLbl="parChTrans1D2" presStyleIdx="0" presStyleCnt="2"/>
      <dgm:spPr/>
    </dgm:pt>
    <dgm:pt modelId="{86C1A60C-87E2-49A4-8696-8ADA591B4C48}" type="pres">
      <dgm:prSet presAssocID="{718FEF66-C718-4061-B9C8-8D051C53E1D7}" presName="root2" presStyleCnt="0"/>
      <dgm:spPr/>
    </dgm:pt>
    <dgm:pt modelId="{CE9C2DE0-8DCE-4F07-95C6-E3284FAA7DA7}" type="pres">
      <dgm:prSet presAssocID="{718FEF66-C718-4061-B9C8-8D051C53E1D7}" presName="LevelTwoTextNode" presStyleLbl="node2" presStyleIdx="0" presStyleCnt="2">
        <dgm:presLayoutVars>
          <dgm:chPref val="3"/>
        </dgm:presLayoutVars>
      </dgm:prSet>
      <dgm:spPr/>
    </dgm:pt>
    <dgm:pt modelId="{56B341BE-6367-4672-A674-54F80BEB1512}" type="pres">
      <dgm:prSet presAssocID="{718FEF66-C718-4061-B9C8-8D051C53E1D7}" presName="level3hierChild" presStyleCnt="0"/>
      <dgm:spPr/>
    </dgm:pt>
    <dgm:pt modelId="{7BFF4F75-2661-45F3-B622-02E377DECB11}" type="pres">
      <dgm:prSet presAssocID="{EF97CEC8-E927-4A14-8272-14FAAEE766FA}" presName="conn2-1" presStyleLbl="parChTrans1D2" presStyleIdx="1" presStyleCnt="2"/>
      <dgm:spPr/>
    </dgm:pt>
    <dgm:pt modelId="{D2520FE9-0267-4E91-BF97-EC3144472863}" type="pres">
      <dgm:prSet presAssocID="{EF97CEC8-E927-4A14-8272-14FAAEE766FA}" presName="connTx" presStyleLbl="parChTrans1D2" presStyleIdx="1" presStyleCnt="2"/>
      <dgm:spPr/>
    </dgm:pt>
    <dgm:pt modelId="{CA37C2EE-A4E9-426D-A09B-8D994AE6684D}" type="pres">
      <dgm:prSet presAssocID="{CD66EA63-3A96-41B8-A47C-42541A2D7F60}" presName="root2" presStyleCnt="0"/>
      <dgm:spPr/>
    </dgm:pt>
    <dgm:pt modelId="{8488A4F2-B2C3-486D-80FC-C6DF212B3251}" type="pres">
      <dgm:prSet presAssocID="{CD66EA63-3A96-41B8-A47C-42541A2D7F60}" presName="LevelTwoTextNode" presStyleLbl="node2" presStyleIdx="1" presStyleCnt="2" custScaleY="147251">
        <dgm:presLayoutVars>
          <dgm:chPref val="3"/>
        </dgm:presLayoutVars>
      </dgm:prSet>
      <dgm:spPr/>
    </dgm:pt>
    <dgm:pt modelId="{57FA94C6-410D-4F9F-BF36-DC74F3B0BB14}" type="pres">
      <dgm:prSet presAssocID="{CD66EA63-3A96-41B8-A47C-42541A2D7F60}" presName="level3hierChild" presStyleCnt="0"/>
      <dgm:spPr/>
    </dgm:pt>
  </dgm:ptLst>
  <dgm:cxnLst>
    <dgm:cxn modelId="{AC72D233-05BF-459D-A133-2F4ACB8412AB}" type="presOf" srcId="{CD66EA63-3A96-41B8-A47C-42541A2D7F60}" destId="{8488A4F2-B2C3-486D-80FC-C6DF212B3251}" srcOrd="0" destOrd="0" presId="urn:microsoft.com/office/officeart/2005/8/layout/hierarchy2"/>
    <dgm:cxn modelId="{F5BE203F-C3EA-4C8F-8BC2-877B55BCC398}" type="presOf" srcId="{718FEF66-C718-4061-B9C8-8D051C53E1D7}" destId="{CE9C2DE0-8DCE-4F07-95C6-E3284FAA7DA7}" srcOrd="0" destOrd="0" presId="urn:microsoft.com/office/officeart/2005/8/layout/hierarchy2"/>
    <dgm:cxn modelId="{4D298D40-0C40-4FD3-B95F-9D2C443CF8E0}" type="presOf" srcId="{1DCC2147-6E31-4B68-9E65-339A8C95CEE5}" destId="{F985A5A9-1D3E-4D11-9166-66F60863E28D}" srcOrd="1" destOrd="0" presId="urn:microsoft.com/office/officeart/2005/8/layout/hierarchy2"/>
    <dgm:cxn modelId="{434C5B65-695B-4D8F-89F6-0A2A4E1A1B05}" type="presOf" srcId="{EF97CEC8-E927-4A14-8272-14FAAEE766FA}" destId="{D2520FE9-0267-4E91-BF97-EC3144472863}" srcOrd="1" destOrd="0" presId="urn:microsoft.com/office/officeart/2005/8/layout/hierarchy2"/>
    <dgm:cxn modelId="{BE96E64D-F101-4010-BB27-9C64D8B1BE09}" type="presOf" srcId="{EF97CEC8-E927-4A14-8272-14FAAEE766FA}" destId="{7BFF4F75-2661-45F3-B622-02E377DECB11}" srcOrd="0" destOrd="0" presId="urn:microsoft.com/office/officeart/2005/8/layout/hierarchy2"/>
    <dgm:cxn modelId="{DF8A144F-CDE9-4BD4-8B63-2D4FA239CB4C}" srcId="{D0D8F0C7-4506-434A-96FC-163286051F4C}" destId="{3ED91556-3EDC-4DE9-A747-A993373D595B}" srcOrd="0" destOrd="0" parTransId="{0B92B585-5C17-4F34-8E1A-E1287FBF3EFA}" sibTransId="{1EBEED62-380C-4582-9641-EA7B25C4D67C}"/>
    <dgm:cxn modelId="{79BC5C76-CE53-4D98-B915-78C645523291}" type="presOf" srcId="{1DCC2147-6E31-4B68-9E65-339A8C95CEE5}" destId="{FEE5B3D6-58AD-4C28-9162-9ADEFED59D6F}" srcOrd="0" destOrd="0" presId="urn:microsoft.com/office/officeart/2005/8/layout/hierarchy2"/>
    <dgm:cxn modelId="{5CE4415A-D51B-4B1B-B9CA-AF61F521BF16}" type="presOf" srcId="{3ED91556-3EDC-4DE9-A747-A993373D595B}" destId="{3A55772C-1829-47C9-9496-AB7E04A6B977}" srcOrd="0" destOrd="0" presId="urn:microsoft.com/office/officeart/2005/8/layout/hierarchy2"/>
    <dgm:cxn modelId="{FFE24C8A-7DAF-4D84-8B94-0A661E455925}" srcId="{3ED91556-3EDC-4DE9-A747-A993373D595B}" destId="{718FEF66-C718-4061-B9C8-8D051C53E1D7}" srcOrd="0" destOrd="0" parTransId="{1DCC2147-6E31-4B68-9E65-339A8C95CEE5}" sibTransId="{F2A9F3F7-6CF6-4321-99A8-A0D791C2BCE6}"/>
    <dgm:cxn modelId="{DCE88194-E8EE-4FBA-ACAD-107AE047052D}" type="presOf" srcId="{D0D8F0C7-4506-434A-96FC-163286051F4C}" destId="{8ACCE32B-7BDA-4B85-9CEA-26978805EFE7}" srcOrd="0" destOrd="0" presId="urn:microsoft.com/office/officeart/2005/8/layout/hierarchy2"/>
    <dgm:cxn modelId="{2EFFE7BF-5549-4E60-BF1B-709FEA15E412}" srcId="{3ED91556-3EDC-4DE9-A747-A993373D595B}" destId="{CD66EA63-3A96-41B8-A47C-42541A2D7F60}" srcOrd="1" destOrd="0" parTransId="{EF97CEC8-E927-4A14-8272-14FAAEE766FA}" sibTransId="{F114CDC5-35FD-4D6F-A8BE-51C8787657BA}"/>
    <dgm:cxn modelId="{DC435836-2A0A-4E82-B34D-BA01767E4255}" type="presParOf" srcId="{8ACCE32B-7BDA-4B85-9CEA-26978805EFE7}" destId="{DC6735BD-23AF-4B58-BB6A-B7BB4E12D651}" srcOrd="0" destOrd="0" presId="urn:microsoft.com/office/officeart/2005/8/layout/hierarchy2"/>
    <dgm:cxn modelId="{FE97C567-8CD8-43B4-97B8-ADD651B6A6D4}" type="presParOf" srcId="{DC6735BD-23AF-4B58-BB6A-B7BB4E12D651}" destId="{3A55772C-1829-47C9-9496-AB7E04A6B977}" srcOrd="0" destOrd="0" presId="urn:microsoft.com/office/officeart/2005/8/layout/hierarchy2"/>
    <dgm:cxn modelId="{B6FC3207-27AA-4D8D-B44A-599ADC75094E}" type="presParOf" srcId="{DC6735BD-23AF-4B58-BB6A-B7BB4E12D651}" destId="{59571A1C-55DA-476F-B2EA-46C7942474ED}" srcOrd="1" destOrd="0" presId="urn:microsoft.com/office/officeart/2005/8/layout/hierarchy2"/>
    <dgm:cxn modelId="{5552979E-F8FF-4F8C-8EA1-85D86A0E2BC2}" type="presParOf" srcId="{59571A1C-55DA-476F-B2EA-46C7942474ED}" destId="{FEE5B3D6-58AD-4C28-9162-9ADEFED59D6F}" srcOrd="0" destOrd="0" presId="urn:microsoft.com/office/officeart/2005/8/layout/hierarchy2"/>
    <dgm:cxn modelId="{31C84BBF-6EB7-4062-88E4-DF7B94F058A8}" type="presParOf" srcId="{FEE5B3D6-58AD-4C28-9162-9ADEFED59D6F}" destId="{F985A5A9-1D3E-4D11-9166-66F60863E28D}" srcOrd="0" destOrd="0" presId="urn:microsoft.com/office/officeart/2005/8/layout/hierarchy2"/>
    <dgm:cxn modelId="{DFF4CEFE-1D27-438A-BD2C-EEAEF80A0037}" type="presParOf" srcId="{59571A1C-55DA-476F-B2EA-46C7942474ED}" destId="{86C1A60C-87E2-49A4-8696-8ADA591B4C48}" srcOrd="1" destOrd="0" presId="urn:microsoft.com/office/officeart/2005/8/layout/hierarchy2"/>
    <dgm:cxn modelId="{0C2A35BF-5577-43C9-8640-81156560854B}" type="presParOf" srcId="{86C1A60C-87E2-49A4-8696-8ADA591B4C48}" destId="{CE9C2DE0-8DCE-4F07-95C6-E3284FAA7DA7}" srcOrd="0" destOrd="0" presId="urn:microsoft.com/office/officeart/2005/8/layout/hierarchy2"/>
    <dgm:cxn modelId="{ED932FB1-609F-4403-AADF-7C801823ECD9}" type="presParOf" srcId="{86C1A60C-87E2-49A4-8696-8ADA591B4C48}" destId="{56B341BE-6367-4672-A674-54F80BEB1512}" srcOrd="1" destOrd="0" presId="urn:microsoft.com/office/officeart/2005/8/layout/hierarchy2"/>
    <dgm:cxn modelId="{B00DBD4E-C90A-4911-BB7B-5CEDF5E854E3}" type="presParOf" srcId="{59571A1C-55DA-476F-B2EA-46C7942474ED}" destId="{7BFF4F75-2661-45F3-B622-02E377DECB11}" srcOrd="2" destOrd="0" presId="urn:microsoft.com/office/officeart/2005/8/layout/hierarchy2"/>
    <dgm:cxn modelId="{AD546212-9F62-498D-B6FF-2AC6D8B807C1}" type="presParOf" srcId="{7BFF4F75-2661-45F3-B622-02E377DECB11}" destId="{D2520FE9-0267-4E91-BF97-EC3144472863}" srcOrd="0" destOrd="0" presId="urn:microsoft.com/office/officeart/2005/8/layout/hierarchy2"/>
    <dgm:cxn modelId="{EF8B955B-C423-47A9-8628-1CBA929C14E4}" type="presParOf" srcId="{59571A1C-55DA-476F-B2EA-46C7942474ED}" destId="{CA37C2EE-A4E9-426D-A09B-8D994AE6684D}" srcOrd="3" destOrd="0" presId="urn:microsoft.com/office/officeart/2005/8/layout/hierarchy2"/>
    <dgm:cxn modelId="{9DE5BFE6-D9CE-4326-A73D-833FF0A76E18}" type="presParOf" srcId="{CA37C2EE-A4E9-426D-A09B-8D994AE6684D}" destId="{8488A4F2-B2C3-486D-80FC-C6DF212B3251}" srcOrd="0" destOrd="0" presId="urn:microsoft.com/office/officeart/2005/8/layout/hierarchy2"/>
    <dgm:cxn modelId="{DAF567CF-98A2-4D9E-B972-79738ACEFAF5}" type="presParOf" srcId="{CA37C2EE-A4E9-426D-A09B-8D994AE6684D}" destId="{57FA94C6-410D-4F9F-BF36-DC74F3B0BB1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57EFDB9-DE48-45DF-9BC6-8062C04EC15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9794E0D-BC96-44A6-8C5C-259BDF3FE464}">
      <dgm:prSet/>
      <dgm:spPr/>
      <dgm:t>
        <a:bodyPr/>
        <a:lstStyle/>
        <a:p>
          <a:r>
            <a:rPr lang="en-US" dirty="0"/>
            <a:t>Sometimes the consensus of a lot of weak models can result in a better prediction than a single strong model.</a:t>
          </a:r>
        </a:p>
      </dgm:t>
    </dgm:pt>
    <dgm:pt modelId="{1817ABF8-CC96-44E8-AC0D-01F53EBF4B59}" type="parTrans" cxnId="{7A41D43E-F26B-44A1-AB4E-522CB556C0A8}">
      <dgm:prSet/>
      <dgm:spPr/>
      <dgm:t>
        <a:bodyPr/>
        <a:lstStyle/>
        <a:p>
          <a:endParaRPr lang="en-US"/>
        </a:p>
      </dgm:t>
    </dgm:pt>
    <dgm:pt modelId="{39E63A4A-BBA3-4979-8681-1B93A97C2D2F}" type="sibTrans" cxnId="{7A41D43E-F26B-44A1-AB4E-522CB556C0A8}">
      <dgm:prSet/>
      <dgm:spPr/>
      <dgm:t>
        <a:bodyPr/>
        <a:lstStyle/>
        <a:p>
          <a:endParaRPr lang="en-US"/>
        </a:p>
      </dgm:t>
    </dgm:pt>
    <dgm:pt modelId="{BCC99FD4-74C7-4310-87BD-7B7B6B8F83C4}">
      <dgm:prSet/>
      <dgm:spPr/>
      <dgm:t>
        <a:bodyPr/>
        <a:lstStyle/>
        <a:p>
          <a:r>
            <a:rPr lang="en-US" dirty="0"/>
            <a:t>We can develop an “ensemble” of models, each of which does an OK job of predicting a subset of responses or considering a particular part of the functional relationship.</a:t>
          </a:r>
        </a:p>
      </dgm:t>
    </dgm:pt>
    <dgm:pt modelId="{29FDEEBA-912B-447E-AB6E-7EF45286E261}" type="parTrans" cxnId="{886AEDE1-A80A-4DC6-8326-52153F21D677}">
      <dgm:prSet/>
      <dgm:spPr/>
      <dgm:t>
        <a:bodyPr/>
        <a:lstStyle/>
        <a:p>
          <a:endParaRPr lang="en-US"/>
        </a:p>
      </dgm:t>
    </dgm:pt>
    <dgm:pt modelId="{9C03BC04-0F4C-4653-97E5-CBDD2260F427}" type="sibTrans" cxnId="{886AEDE1-A80A-4DC6-8326-52153F21D677}">
      <dgm:prSet/>
      <dgm:spPr/>
      <dgm:t>
        <a:bodyPr/>
        <a:lstStyle/>
        <a:p>
          <a:endParaRPr lang="en-US"/>
        </a:p>
      </dgm:t>
    </dgm:pt>
    <dgm:pt modelId="{E30FFFD2-8060-44BF-8BFA-FDC567AC206D}">
      <dgm:prSet/>
      <dgm:spPr/>
      <dgm:t>
        <a:bodyPr/>
        <a:lstStyle/>
        <a:p>
          <a:r>
            <a:rPr lang="en-US" dirty="0"/>
            <a:t>Consider the tree at right, predicting the SF-12 Physical Component Score as a function of covariates, including:</a:t>
          </a:r>
        </a:p>
      </dgm:t>
    </dgm:pt>
    <dgm:pt modelId="{84134996-46F1-44EE-A857-54F6DF6A1153}" type="parTrans" cxnId="{435F7284-E523-40F2-8950-222BFFF71032}">
      <dgm:prSet/>
      <dgm:spPr/>
      <dgm:t>
        <a:bodyPr/>
        <a:lstStyle/>
        <a:p>
          <a:endParaRPr lang="en-US"/>
        </a:p>
      </dgm:t>
    </dgm:pt>
    <dgm:pt modelId="{54831FA0-5A7F-4ECA-B824-F00FCBC29719}" type="sibTrans" cxnId="{435F7284-E523-40F2-8950-222BFFF71032}">
      <dgm:prSet/>
      <dgm:spPr/>
      <dgm:t>
        <a:bodyPr/>
        <a:lstStyle/>
        <a:p>
          <a:endParaRPr lang="en-US"/>
        </a:p>
      </dgm:t>
    </dgm:pt>
    <dgm:pt modelId="{4F3F0AAB-41F7-4F05-B303-CAC995A056EC}">
      <dgm:prSet/>
      <dgm:spPr/>
      <dgm:t>
        <a:bodyPr/>
        <a:lstStyle/>
        <a:p>
          <a:r>
            <a:rPr lang="en-US"/>
            <a:t>Age, sex, region, family size, race, ethnicity, marital status, education, BMI, income, poverty status, risk attitude,  insurance coverage, usual source of care </a:t>
          </a:r>
        </a:p>
      </dgm:t>
    </dgm:pt>
    <dgm:pt modelId="{C2C88BFF-001E-4279-9A14-A74BCFC60F7A}" type="parTrans" cxnId="{98B32568-64C2-4E60-A5EF-7D7146CFB2F9}">
      <dgm:prSet/>
      <dgm:spPr/>
      <dgm:t>
        <a:bodyPr/>
        <a:lstStyle/>
        <a:p>
          <a:endParaRPr lang="en-US"/>
        </a:p>
      </dgm:t>
    </dgm:pt>
    <dgm:pt modelId="{799CDA12-FAE9-421D-B692-A644E3113AD1}" type="sibTrans" cxnId="{98B32568-64C2-4E60-A5EF-7D7146CFB2F9}">
      <dgm:prSet/>
      <dgm:spPr/>
      <dgm:t>
        <a:bodyPr/>
        <a:lstStyle/>
        <a:p>
          <a:endParaRPr lang="en-US"/>
        </a:p>
      </dgm:t>
    </dgm:pt>
    <dgm:pt modelId="{13D46D54-6EBE-4C76-8664-63754BDA56FE}">
      <dgm:prSet/>
      <dgm:spPr/>
      <dgm:t>
        <a:bodyPr/>
        <a:lstStyle/>
        <a:p>
          <a:r>
            <a:rPr lang="en-US"/>
            <a:t>What would the tree have looked like if we didn’t split on AGE?</a:t>
          </a:r>
        </a:p>
      </dgm:t>
    </dgm:pt>
    <dgm:pt modelId="{5DCD6481-922F-4256-A7AD-C92058536833}" type="parTrans" cxnId="{0DB22DAF-8430-4131-B65B-F72BBDD711F1}">
      <dgm:prSet/>
      <dgm:spPr/>
      <dgm:t>
        <a:bodyPr/>
        <a:lstStyle/>
        <a:p>
          <a:endParaRPr lang="en-US"/>
        </a:p>
      </dgm:t>
    </dgm:pt>
    <dgm:pt modelId="{E2ADF89F-498E-4DE4-A390-F6246B5D0EAD}" type="sibTrans" cxnId="{0DB22DAF-8430-4131-B65B-F72BBDD711F1}">
      <dgm:prSet/>
      <dgm:spPr/>
      <dgm:t>
        <a:bodyPr/>
        <a:lstStyle/>
        <a:p>
          <a:endParaRPr lang="en-US"/>
        </a:p>
      </dgm:t>
    </dgm:pt>
    <dgm:pt modelId="{52514D33-2BD1-401B-AC58-09DD5DBB384D}">
      <dgm:prSet/>
      <dgm:spPr/>
      <dgm:t>
        <a:bodyPr/>
        <a:lstStyle/>
        <a:p>
          <a:r>
            <a:rPr lang="en-US"/>
            <a:t>Maybe a subset of observations had really strong relationships with AGE, and a future sample might miss them?</a:t>
          </a:r>
        </a:p>
      </dgm:t>
    </dgm:pt>
    <dgm:pt modelId="{7B9C65AF-5DA4-426D-8869-9F7D41B2F40E}" type="parTrans" cxnId="{74FADA74-DED3-4942-8B46-426AE538630D}">
      <dgm:prSet/>
      <dgm:spPr/>
      <dgm:t>
        <a:bodyPr/>
        <a:lstStyle/>
        <a:p>
          <a:endParaRPr lang="en-US"/>
        </a:p>
      </dgm:t>
    </dgm:pt>
    <dgm:pt modelId="{9716C19F-1774-4C45-B481-D1554608946D}" type="sibTrans" cxnId="{74FADA74-DED3-4942-8B46-426AE538630D}">
      <dgm:prSet/>
      <dgm:spPr/>
      <dgm:t>
        <a:bodyPr/>
        <a:lstStyle/>
        <a:p>
          <a:endParaRPr lang="en-US"/>
        </a:p>
      </dgm:t>
    </dgm:pt>
    <dgm:pt modelId="{99B7456D-0AD7-46B4-ACD2-97F754BF3E19}">
      <dgm:prSet/>
      <dgm:spPr/>
      <dgm:t>
        <a:bodyPr/>
        <a:lstStyle/>
        <a:p>
          <a:r>
            <a:rPr lang="en-US"/>
            <a:t>Maybe AGE is so strong that it “masks” other relationships down the tree that may work well for a subset of observations</a:t>
          </a:r>
        </a:p>
      </dgm:t>
    </dgm:pt>
    <dgm:pt modelId="{E4D9D4B0-9F3C-402D-8DF8-D1D958530A7E}" type="parTrans" cxnId="{CFD7CBFD-382C-43ED-AA5A-01A885DB9D4D}">
      <dgm:prSet/>
      <dgm:spPr/>
      <dgm:t>
        <a:bodyPr/>
        <a:lstStyle/>
        <a:p>
          <a:endParaRPr lang="en-US"/>
        </a:p>
      </dgm:t>
    </dgm:pt>
    <dgm:pt modelId="{26B36C67-8965-4CDA-8FB8-31A8E879F40A}" type="sibTrans" cxnId="{CFD7CBFD-382C-43ED-AA5A-01A885DB9D4D}">
      <dgm:prSet/>
      <dgm:spPr/>
      <dgm:t>
        <a:bodyPr/>
        <a:lstStyle/>
        <a:p>
          <a:endParaRPr lang="en-US"/>
        </a:p>
      </dgm:t>
    </dgm:pt>
    <dgm:pt modelId="{FF60EC94-7D94-4AA9-BDBB-31627CD21463}">
      <dgm:prSet/>
      <dgm:spPr/>
      <dgm:t>
        <a:bodyPr/>
        <a:lstStyle/>
        <a:p>
          <a:r>
            <a:rPr lang="en-US" dirty="0"/>
            <a:t>Ironically, we don’t want strong models because they will be highly correlated.</a:t>
          </a:r>
        </a:p>
      </dgm:t>
    </dgm:pt>
    <dgm:pt modelId="{F27C3FA2-7FDE-4108-8604-D059728876AA}" type="parTrans" cxnId="{269DEE8B-8AC6-4A0B-84E3-6F9289600ACD}">
      <dgm:prSet/>
      <dgm:spPr/>
      <dgm:t>
        <a:bodyPr/>
        <a:lstStyle/>
        <a:p>
          <a:endParaRPr lang="en-US"/>
        </a:p>
      </dgm:t>
    </dgm:pt>
    <dgm:pt modelId="{4D14C9A8-E04D-4D47-AFE9-5E178A9AA161}" type="sibTrans" cxnId="{269DEE8B-8AC6-4A0B-84E3-6F9289600ACD}">
      <dgm:prSet/>
      <dgm:spPr/>
      <dgm:t>
        <a:bodyPr/>
        <a:lstStyle/>
        <a:p>
          <a:endParaRPr lang="en-US"/>
        </a:p>
      </dgm:t>
    </dgm:pt>
    <dgm:pt modelId="{3173E79E-8CA0-4EF7-B138-4570456C8398}" type="pres">
      <dgm:prSet presAssocID="{D57EFDB9-DE48-45DF-9BC6-8062C04EC15B}" presName="Name0" presStyleCnt="0">
        <dgm:presLayoutVars>
          <dgm:dir/>
          <dgm:animLvl val="lvl"/>
          <dgm:resizeHandles val="exact"/>
        </dgm:presLayoutVars>
      </dgm:prSet>
      <dgm:spPr/>
    </dgm:pt>
    <dgm:pt modelId="{8310D1A8-FACF-49A5-9369-132FEB1139D3}" type="pres">
      <dgm:prSet presAssocID="{D9794E0D-BC96-44A6-8C5C-259BDF3FE464}" presName="linNode" presStyleCnt="0"/>
      <dgm:spPr/>
    </dgm:pt>
    <dgm:pt modelId="{4E3D1848-4D96-4FF9-859F-DAAC340D4A59}" type="pres">
      <dgm:prSet presAssocID="{D9794E0D-BC96-44A6-8C5C-259BDF3FE464}" presName="parentText" presStyleLbl="node1" presStyleIdx="0" presStyleCnt="3">
        <dgm:presLayoutVars>
          <dgm:chMax val="1"/>
          <dgm:bulletEnabled val="1"/>
        </dgm:presLayoutVars>
      </dgm:prSet>
      <dgm:spPr/>
    </dgm:pt>
    <dgm:pt modelId="{B35C747E-948D-4F20-99F2-CAE36C78DD7F}" type="pres">
      <dgm:prSet presAssocID="{D9794E0D-BC96-44A6-8C5C-259BDF3FE464}" presName="descendantText" presStyleLbl="alignAccFollowNode1" presStyleIdx="0" presStyleCnt="3">
        <dgm:presLayoutVars>
          <dgm:bulletEnabled val="1"/>
        </dgm:presLayoutVars>
      </dgm:prSet>
      <dgm:spPr/>
    </dgm:pt>
    <dgm:pt modelId="{26F24486-B6FA-49E7-9933-F79F573134C5}" type="pres">
      <dgm:prSet presAssocID="{39E63A4A-BBA3-4979-8681-1B93A97C2D2F}" presName="sp" presStyleCnt="0"/>
      <dgm:spPr/>
    </dgm:pt>
    <dgm:pt modelId="{DA7BD378-C5BA-4487-851B-4C679EFBF644}" type="pres">
      <dgm:prSet presAssocID="{E30FFFD2-8060-44BF-8BFA-FDC567AC206D}" presName="linNode" presStyleCnt="0"/>
      <dgm:spPr/>
    </dgm:pt>
    <dgm:pt modelId="{DC13B914-0A2C-4FA6-83BB-B0614863F8AE}" type="pres">
      <dgm:prSet presAssocID="{E30FFFD2-8060-44BF-8BFA-FDC567AC206D}" presName="parentText" presStyleLbl="node1" presStyleIdx="1" presStyleCnt="3">
        <dgm:presLayoutVars>
          <dgm:chMax val="1"/>
          <dgm:bulletEnabled val="1"/>
        </dgm:presLayoutVars>
      </dgm:prSet>
      <dgm:spPr/>
    </dgm:pt>
    <dgm:pt modelId="{37B36511-9447-4D92-B132-287527722C00}" type="pres">
      <dgm:prSet presAssocID="{E30FFFD2-8060-44BF-8BFA-FDC567AC206D}" presName="descendantText" presStyleLbl="alignAccFollowNode1" presStyleIdx="1" presStyleCnt="3">
        <dgm:presLayoutVars>
          <dgm:bulletEnabled val="1"/>
        </dgm:presLayoutVars>
      </dgm:prSet>
      <dgm:spPr/>
    </dgm:pt>
    <dgm:pt modelId="{36F07C3E-3654-481E-9E03-E18FC0991F7D}" type="pres">
      <dgm:prSet presAssocID="{54831FA0-5A7F-4ECA-B824-F00FCBC29719}" presName="sp" presStyleCnt="0"/>
      <dgm:spPr/>
    </dgm:pt>
    <dgm:pt modelId="{767145E9-F5F9-46DD-9CE0-28AC7088219B}" type="pres">
      <dgm:prSet presAssocID="{13D46D54-6EBE-4C76-8664-63754BDA56FE}" presName="linNode" presStyleCnt="0"/>
      <dgm:spPr/>
    </dgm:pt>
    <dgm:pt modelId="{D5A142FD-7425-4E48-8290-D5289D5CBA91}" type="pres">
      <dgm:prSet presAssocID="{13D46D54-6EBE-4C76-8664-63754BDA56FE}" presName="parentText" presStyleLbl="node1" presStyleIdx="2" presStyleCnt="3">
        <dgm:presLayoutVars>
          <dgm:chMax val="1"/>
          <dgm:bulletEnabled val="1"/>
        </dgm:presLayoutVars>
      </dgm:prSet>
      <dgm:spPr/>
    </dgm:pt>
    <dgm:pt modelId="{AC456028-C0BC-469C-8C78-B47172B0182F}" type="pres">
      <dgm:prSet presAssocID="{13D46D54-6EBE-4C76-8664-63754BDA56FE}" presName="descendantText" presStyleLbl="alignAccFollowNode1" presStyleIdx="2" presStyleCnt="3">
        <dgm:presLayoutVars>
          <dgm:bulletEnabled val="1"/>
        </dgm:presLayoutVars>
      </dgm:prSet>
      <dgm:spPr/>
    </dgm:pt>
  </dgm:ptLst>
  <dgm:cxnLst>
    <dgm:cxn modelId="{28703104-E32C-4AE3-B584-F797B0406059}" type="presOf" srcId="{D57EFDB9-DE48-45DF-9BC6-8062C04EC15B}" destId="{3173E79E-8CA0-4EF7-B138-4570456C8398}" srcOrd="0" destOrd="0" presId="urn:microsoft.com/office/officeart/2005/8/layout/vList5"/>
    <dgm:cxn modelId="{53C24C09-7736-4B43-9B96-1390379E79AD}" type="presOf" srcId="{BCC99FD4-74C7-4310-87BD-7B7B6B8F83C4}" destId="{B35C747E-948D-4F20-99F2-CAE36C78DD7F}" srcOrd="0" destOrd="0" presId="urn:microsoft.com/office/officeart/2005/8/layout/vList5"/>
    <dgm:cxn modelId="{FD9A051E-1917-4637-A94A-FF37204D63C3}" type="presOf" srcId="{4F3F0AAB-41F7-4F05-B303-CAC995A056EC}" destId="{37B36511-9447-4D92-B132-287527722C00}" srcOrd="0" destOrd="0" presId="urn:microsoft.com/office/officeart/2005/8/layout/vList5"/>
    <dgm:cxn modelId="{FF4F2622-75B2-460D-8DFA-1EDB82F71460}" type="presOf" srcId="{99B7456D-0AD7-46B4-ACD2-97F754BF3E19}" destId="{AC456028-C0BC-469C-8C78-B47172B0182F}" srcOrd="0" destOrd="1" presId="urn:microsoft.com/office/officeart/2005/8/layout/vList5"/>
    <dgm:cxn modelId="{1F649C2C-984F-4853-AC9C-CC3E90F37160}" type="presOf" srcId="{13D46D54-6EBE-4C76-8664-63754BDA56FE}" destId="{D5A142FD-7425-4E48-8290-D5289D5CBA91}" srcOrd="0" destOrd="0" presId="urn:microsoft.com/office/officeart/2005/8/layout/vList5"/>
    <dgm:cxn modelId="{7A41D43E-F26B-44A1-AB4E-522CB556C0A8}" srcId="{D57EFDB9-DE48-45DF-9BC6-8062C04EC15B}" destId="{D9794E0D-BC96-44A6-8C5C-259BDF3FE464}" srcOrd="0" destOrd="0" parTransId="{1817ABF8-CC96-44E8-AC0D-01F53EBF4B59}" sibTransId="{39E63A4A-BBA3-4979-8681-1B93A97C2D2F}"/>
    <dgm:cxn modelId="{170CF75B-4872-4557-A6F5-1A5C10226A16}" type="presOf" srcId="{E30FFFD2-8060-44BF-8BFA-FDC567AC206D}" destId="{DC13B914-0A2C-4FA6-83BB-B0614863F8AE}" srcOrd="0" destOrd="0" presId="urn:microsoft.com/office/officeart/2005/8/layout/vList5"/>
    <dgm:cxn modelId="{98B32568-64C2-4E60-A5EF-7D7146CFB2F9}" srcId="{E30FFFD2-8060-44BF-8BFA-FDC567AC206D}" destId="{4F3F0AAB-41F7-4F05-B303-CAC995A056EC}" srcOrd="0" destOrd="0" parTransId="{C2C88BFF-001E-4279-9A14-A74BCFC60F7A}" sibTransId="{799CDA12-FAE9-421D-B692-A644E3113AD1}"/>
    <dgm:cxn modelId="{74FADA74-DED3-4942-8B46-426AE538630D}" srcId="{13D46D54-6EBE-4C76-8664-63754BDA56FE}" destId="{52514D33-2BD1-401B-AC58-09DD5DBB384D}" srcOrd="0" destOrd="0" parTransId="{7B9C65AF-5DA4-426D-8869-9F7D41B2F40E}" sibTransId="{9716C19F-1774-4C45-B481-D1554608946D}"/>
    <dgm:cxn modelId="{435F7284-E523-40F2-8950-222BFFF71032}" srcId="{D57EFDB9-DE48-45DF-9BC6-8062C04EC15B}" destId="{E30FFFD2-8060-44BF-8BFA-FDC567AC206D}" srcOrd="1" destOrd="0" parTransId="{84134996-46F1-44EE-A857-54F6DF6A1153}" sibTransId="{54831FA0-5A7F-4ECA-B824-F00FCBC29719}"/>
    <dgm:cxn modelId="{3B2A1C8B-3612-4CD4-AE8F-42C9DC2DF1A5}" type="presOf" srcId="{FF60EC94-7D94-4AA9-BDBB-31627CD21463}" destId="{B35C747E-948D-4F20-99F2-CAE36C78DD7F}" srcOrd="0" destOrd="1" presId="urn:microsoft.com/office/officeart/2005/8/layout/vList5"/>
    <dgm:cxn modelId="{269DEE8B-8AC6-4A0B-84E3-6F9289600ACD}" srcId="{D9794E0D-BC96-44A6-8C5C-259BDF3FE464}" destId="{FF60EC94-7D94-4AA9-BDBB-31627CD21463}" srcOrd="1" destOrd="0" parTransId="{F27C3FA2-7FDE-4108-8604-D059728876AA}" sibTransId="{4D14C9A8-E04D-4D47-AFE9-5E178A9AA161}"/>
    <dgm:cxn modelId="{0DB22DAF-8430-4131-B65B-F72BBDD711F1}" srcId="{D57EFDB9-DE48-45DF-9BC6-8062C04EC15B}" destId="{13D46D54-6EBE-4C76-8664-63754BDA56FE}" srcOrd="2" destOrd="0" parTransId="{5DCD6481-922F-4256-A7AD-C92058536833}" sibTransId="{E2ADF89F-498E-4DE4-A390-F6246B5D0EAD}"/>
    <dgm:cxn modelId="{D6AC81C6-30E6-4312-B963-EFEA60313AC2}" type="presOf" srcId="{D9794E0D-BC96-44A6-8C5C-259BDF3FE464}" destId="{4E3D1848-4D96-4FF9-859F-DAAC340D4A59}" srcOrd="0" destOrd="0" presId="urn:microsoft.com/office/officeart/2005/8/layout/vList5"/>
    <dgm:cxn modelId="{8E0DFAD8-4F81-496C-B9DB-3E0155F6DD2D}" type="presOf" srcId="{52514D33-2BD1-401B-AC58-09DD5DBB384D}" destId="{AC456028-C0BC-469C-8C78-B47172B0182F}" srcOrd="0" destOrd="0" presId="urn:microsoft.com/office/officeart/2005/8/layout/vList5"/>
    <dgm:cxn modelId="{886AEDE1-A80A-4DC6-8326-52153F21D677}" srcId="{D9794E0D-BC96-44A6-8C5C-259BDF3FE464}" destId="{BCC99FD4-74C7-4310-87BD-7B7B6B8F83C4}" srcOrd="0" destOrd="0" parTransId="{29FDEEBA-912B-447E-AB6E-7EF45286E261}" sibTransId="{9C03BC04-0F4C-4653-97E5-CBDD2260F427}"/>
    <dgm:cxn modelId="{CFD7CBFD-382C-43ED-AA5A-01A885DB9D4D}" srcId="{13D46D54-6EBE-4C76-8664-63754BDA56FE}" destId="{99B7456D-0AD7-46B4-ACD2-97F754BF3E19}" srcOrd="1" destOrd="0" parTransId="{E4D9D4B0-9F3C-402D-8DF8-D1D958530A7E}" sibTransId="{26B36C67-8965-4CDA-8FB8-31A8E879F40A}"/>
    <dgm:cxn modelId="{973A10E2-6F0D-4779-9F6A-9A9EFF22882D}" type="presParOf" srcId="{3173E79E-8CA0-4EF7-B138-4570456C8398}" destId="{8310D1A8-FACF-49A5-9369-132FEB1139D3}" srcOrd="0" destOrd="0" presId="urn:microsoft.com/office/officeart/2005/8/layout/vList5"/>
    <dgm:cxn modelId="{50AF2F0A-99B8-4FD6-9D0B-F0DD9F7DBE24}" type="presParOf" srcId="{8310D1A8-FACF-49A5-9369-132FEB1139D3}" destId="{4E3D1848-4D96-4FF9-859F-DAAC340D4A59}" srcOrd="0" destOrd="0" presId="urn:microsoft.com/office/officeart/2005/8/layout/vList5"/>
    <dgm:cxn modelId="{BAE63DA4-3EA6-4EA6-8959-314C5EEFC387}" type="presParOf" srcId="{8310D1A8-FACF-49A5-9369-132FEB1139D3}" destId="{B35C747E-948D-4F20-99F2-CAE36C78DD7F}" srcOrd="1" destOrd="0" presId="urn:microsoft.com/office/officeart/2005/8/layout/vList5"/>
    <dgm:cxn modelId="{683BD9EA-E5FF-4748-8810-8F890B5CBFDF}" type="presParOf" srcId="{3173E79E-8CA0-4EF7-B138-4570456C8398}" destId="{26F24486-B6FA-49E7-9933-F79F573134C5}" srcOrd="1" destOrd="0" presId="urn:microsoft.com/office/officeart/2005/8/layout/vList5"/>
    <dgm:cxn modelId="{1DA6892F-4E76-41EB-9BF7-046DD51A8464}" type="presParOf" srcId="{3173E79E-8CA0-4EF7-B138-4570456C8398}" destId="{DA7BD378-C5BA-4487-851B-4C679EFBF644}" srcOrd="2" destOrd="0" presId="urn:microsoft.com/office/officeart/2005/8/layout/vList5"/>
    <dgm:cxn modelId="{65890223-4E13-449D-8197-A8F0ED437E9B}" type="presParOf" srcId="{DA7BD378-C5BA-4487-851B-4C679EFBF644}" destId="{DC13B914-0A2C-4FA6-83BB-B0614863F8AE}" srcOrd="0" destOrd="0" presId="urn:microsoft.com/office/officeart/2005/8/layout/vList5"/>
    <dgm:cxn modelId="{11EFA6EF-AB08-4D15-B761-57102CE8B193}" type="presParOf" srcId="{DA7BD378-C5BA-4487-851B-4C679EFBF644}" destId="{37B36511-9447-4D92-B132-287527722C00}" srcOrd="1" destOrd="0" presId="urn:microsoft.com/office/officeart/2005/8/layout/vList5"/>
    <dgm:cxn modelId="{7C543C31-C014-4118-A35B-74D2C5ECBAA1}" type="presParOf" srcId="{3173E79E-8CA0-4EF7-B138-4570456C8398}" destId="{36F07C3E-3654-481E-9E03-E18FC0991F7D}" srcOrd="3" destOrd="0" presId="urn:microsoft.com/office/officeart/2005/8/layout/vList5"/>
    <dgm:cxn modelId="{B31C3964-5578-4D1A-A009-20C827BF221F}" type="presParOf" srcId="{3173E79E-8CA0-4EF7-B138-4570456C8398}" destId="{767145E9-F5F9-46DD-9CE0-28AC7088219B}" srcOrd="4" destOrd="0" presId="urn:microsoft.com/office/officeart/2005/8/layout/vList5"/>
    <dgm:cxn modelId="{FAB08C04-413C-450B-9098-56C494D0117F}" type="presParOf" srcId="{767145E9-F5F9-46DD-9CE0-28AC7088219B}" destId="{D5A142FD-7425-4E48-8290-D5289D5CBA91}" srcOrd="0" destOrd="0" presId="urn:microsoft.com/office/officeart/2005/8/layout/vList5"/>
    <dgm:cxn modelId="{F1CAC8B8-59E3-4C62-94F9-C83338EE01F8}" type="presParOf" srcId="{767145E9-F5F9-46DD-9CE0-28AC7088219B}" destId="{AC456028-C0BC-469C-8C78-B47172B0182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349654E-63A2-460F-853D-E01FFEA1E94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16E6347-B15B-41C0-A25A-9F34A85E80C6}">
      <dgm:prSet custT="1"/>
      <dgm:spPr/>
      <dgm:t>
        <a:bodyPr/>
        <a:lstStyle/>
        <a:p>
          <a:r>
            <a:rPr lang="en-US" sz="2400" dirty="0"/>
            <a:t>Extreme Gradient Boosting (</a:t>
          </a:r>
          <a:r>
            <a:rPr lang="en-US" sz="2400" dirty="0" err="1"/>
            <a:t>Xgboost</a:t>
          </a:r>
          <a:r>
            <a:rPr lang="en-US" sz="2400" dirty="0"/>
            <a:t>)</a:t>
          </a:r>
        </a:p>
      </dgm:t>
    </dgm:pt>
    <dgm:pt modelId="{C655AFAB-A446-4EEE-A635-642C6318740E}" type="parTrans" cxnId="{93B82778-A3AE-49DD-A1BB-1D491CBF90EA}">
      <dgm:prSet/>
      <dgm:spPr/>
      <dgm:t>
        <a:bodyPr/>
        <a:lstStyle/>
        <a:p>
          <a:endParaRPr lang="en-US"/>
        </a:p>
      </dgm:t>
    </dgm:pt>
    <dgm:pt modelId="{D4F90C6E-E0D3-4185-8906-C1499076764D}" type="sibTrans" cxnId="{93B82778-A3AE-49DD-A1BB-1D491CBF90EA}">
      <dgm:prSet/>
      <dgm:spPr/>
      <dgm:t>
        <a:bodyPr/>
        <a:lstStyle/>
        <a:p>
          <a:endParaRPr lang="en-US"/>
        </a:p>
      </dgm:t>
    </dgm:pt>
    <dgm:pt modelId="{E79F27E1-EB64-413B-9574-E90C41428897}">
      <dgm:prSet/>
      <dgm:spPr/>
      <dgm:t>
        <a:bodyPr/>
        <a:lstStyle/>
        <a:p>
          <a:pPr>
            <a:buNone/>
          </a:pPr>
          <a:r>
            <a:rPr lang="en-US" dirty="0"/>
            <a:t>Several tunable parameters, including:</a:t>
          </a:r>
        </a:p>
      </dgm:t>
    </dgm:pt>
    <dgm:pt modelId="{DE0550AB-30D0-4634-8694-F21C8F16F3E8}" type="parTrans" cxnId="{D2AE7E5D-CA91-4CFF-B311-E652729B4007}">
      <dgm:prSet/>
      <dgm:spPr/>
      <dgm:t>
        <a:bodyPr/>
        <a:lstStyle/>
        <a:p>
          <a:endParaRPr lang="en-US"/>
        </a:p>
      </dgm:t>
    </dgm:pt>
    <dgm:pt modelId="{8E593D2B-978B-416B-8A15-D30FE65FDF44}" type="sibTrans" cxnId="{D2AE7E5D-CA91-4CFF-B311-E652729B4007}">
      <dgm:prSet/>
      <dgm:spPr/>
      <dgm:t>
        <a:bodyPr/>
        <a:lstStyle/>
        <a:p>
          <a:endParaRPr lang="en-US"/>
        </a:p>
      </dgm:t>
    </dgm:pt>
    <dgm:pt modelId="{CD196C69-A4AC-47C7-9FF8-DA4BD226E8B4}">
      <dgm:prSet/>
      <dgm:spPr/>
      <dgm:t>
        <a:bodyPr/>
        <a:lstStyle/>
        <a:p>
          <a:r>
            <a:rPr lang="en-US" dirty="0"/>
            <a:t>Maximum tree depth</a:t>
          </a:r>
        </a:p>
      </dgm:t>
    </dgm:pt>
    <dgm:pt modelId="{7686B2C6-C140-46BE-9B44-5EF3F7E42ECA}" type="parTrans" cxnId="{36D525F8-88B4-482A-A8F1-D13E4046AC1C}">
      <dgm:prSet/>
      <dgm:spPr/>
      <dgm:t>
        <a:bodyPr/>
        <a:lstStyle/>
        <a:p>
          <a:endParaRPr lang="en-US"/>
        </a:p>
      </dgm:t>
    </dgm:pt>
    <dgm:pt modelId="{04B0CC05-8B0E-472F-A75D-DA6E70977702}" type="sibTrans" cxnId="{36D525F8-88B4-482A-A8F1-D13E4046AC1C}">
      <dgm:prSet/>
      <dgm:spPr/>
      <dgm:t>
        <a:bodyPr/>
        <a:lstStyle/>
        <a:p>
          <a:endParaRPr lang="en-US"/>
        </a:p>
      </dgm:t>
    </dgm:pt>
    <dgm:pt modelId="{FD7EB5A6-BC7F-409F-9348-E3F9B921B29C}">
      <dgm:prSet/>
      <dgm:spPr/>
      <dgm:t>
        <a:bodyPr/>
        <a:lstStyle/>
        <a:p>
          <a:r>
            <a:rPr lang="en-US" dirty="0"/>
            <a:t>Minimum size needed to split</a:t>
          </a:r>
        </a:p>
      </dgm:t>
    </dgm:pt>
    <dgm:pt modelId="{0B787E77-5546-4FFE-B052-787410167F03}" type="parTrans" cxnId="{D342C8AC-4365-4019-BC94-A74E6B7E2C73}">
      <dgm:prSet/>
      <dgm:spPr/>
      <dgm:t>
        <a:bodyPr/>
        <a:lstStyle/>
        <a:p>
          <a:endParaRPr lang="en-US"/>
        </a:p>
      </dgm:t>
    </dgm:pt>
    <dgm:pt modelId="{56B92D17-D03F-4271-9891-7CC25726F21D}" type="sibTrans" cxnId="{D342C8AC-4365-4019-BC94-A74E6B7E2C73}">
      <dgm:prSet/>
      <dgm:spPr/>
      <dgm:t>
        <a:bodyPr/>
        <a:lstStyle/>
        <a:p>
          <a:endParaRPr lang="en-US"/>
        </a:p>
      </dgm:t>
    </dgm:pt>
    <dgm:pt modelId="{0913B47F-A42F-43D9-956F-97BA4D7B1D43}">
      <dgm:prSet/>
      <dgm:spPr/>
      <dgm:t>
        <a:bodyPr/>
        <a:lstStyle/>
        <a:p>
          <a:r>
            <a:rPr lang="en-US" dirty="0"/>
            <a:t>Degree of random feature selection</a:t>
          </a:r>
        </a:p>
      </dgm:t>
    </dgm:pt>
    <dgm:pt modelId="{86AEEC9A-CF19-4130-8A05-A38B264F0BC3}" type="parTrans" cxnId="{C35946A6-CB31-49E3-BFDB-B4F79C0A9EE4}">
      <dgm:prSet/>
      <dgm:spPr/>
      <dgm:t>
        <a:bodyPr/>
        <a:lstStyle/>
        <a:p>
          <a:endParaRPr lang="en-US"/>
        </a:p>
      </dgm:t>
    </dgm:pt>
    <dgm:pt modelId="{CC1C4F4E-4F9D-4649-8367-59B4206CC9CA}" type="sibTrans" cxnId="{C35946A6-CB31-49E3-BFDB-B4F79C0A9EE4}">
      <dgm:prSet/>
      <dgm:spPr/>
      <dgm:t>
        <a:bodyPr/>
        <a:lstStyle/>
        <a:p>
          <a:endParaRPr lang="en-US"/>
        </a:p>
      </dgm:t>
    </dgm:pt>
    <dgm:pt modelId="{967854AD-37A8-4C19-9201-1D8812C52967}">
      <dgm:prSet/>
      <dgm:spPr/>
      <dgm:t>
        <a:bodyPr/>
        <a:lstStyle/>
        <a:p>
          <a:r>
            <a:rPr lang="en-US" dirty="0"/>
            <a:t>Degree of random case selection</a:t>
          </a:r>
        </a:p>
      </dgm:t>
    </dgm:pt>
    <dgm:pt modelId="{23DF6AD0-D4BA-4358-9267-574AEF4DA950}" type="parTrans" cxnId="{E41D3658-1C6F-454A-A61F-EC9A5D42CE93}">
      <dgm:prSet/>
      <dgm:spPr/>
      <dgm:t>
        <a:bodyPr/>
        <a:lstStyle/>
        <a:p>
          <a:endParaRPr lang="en-US"/>
        </a:p>
      </dgm:t>
    </dgm:pt>
    <dgm:pt modelId="{B4908F17-3AEB-44BE-82BA-D9563C5B6D44}" type="sibTrans" cxnId="{E41D3658-1C6F-454A-A61F-EC9A5D42CE93}">
      <dgm:prSet/>
      <dgm:spPr/>
      <dgm:t>
        <a:bodyPr/>
        <a:lstStyle/>
        <a:p>
          <a:endParaRPr lang="en-US"/>
        </a:p>
      </dgm:t>
    </dgm:pt>
    <dgm:pt modelId="{D879E760-46DF-41A7-B28E-3EF842CC1942}">
      <dgm:prSet/>
      <dgm:spPr/>
      <dgm:t>
        <a:bodyPr/>
        <a:lstStyle/>
        <a:p>
          <a:r>
            <a:rPr lang="en-US" dirty="0"/>
            <a:t>Number of trees constructed</a:t>
          </a:r>
        </a:p>
      </dgm:t>
    </dgm:pt>
    <dgm:pt modelId="{B4C77EC8-1669-47EB-8541-AC5331E318C1}" type="parTrans" cxnId="{473A46D3-8677-403F-91C7-3E9B118E91DC}">
      <dgm:prSet/>
      <dgm:spPr/>
      <dgm:t>
        <a:bodyPr/>
        <a:lstStyle/>
        <a:p>
          <a:endParaRPr lang="en-US"/>
        </a:p>
      </dgm:t>
    </dgm:pt>
    <dgm:pt modelId="{2DFC61E5-6B8E-4ADE-A069-1F33446357D6}" type="sibTrans" cxnId="{473A46D3-8677-403F-91C7-3E9B118E91DC}">
      <dgm:prSet/>
      <dgm:spPr/>
      <dgm:t>
        <a:bodyPr/>
        <a:lstStyle/>
        <a:p>
          <a:endParaRPr lang="en-US"/>
        </a:p>
      </dgm:t>
    </dgm:pt>
    <dgm:pt modelId="{582A9E9C-2197-4C96-A932-A66F9601313D}">
      <dgm:prSet/>
      <dgm:spPr/>
      <dgm:t>
        <a:bodyPr/>
        <a:lstStyle/>
        <a:p>
          <a:r>
            <a:rPr lang="en-US" dirty="0"/>
            <a:t>eta: learning rate (shrinkage)</a:t>
          </a:r>
        </a:p>
      </dgm:t>
    </dgm:pt>
    <dgm:pt modelId="{08402097-70FA-465F-BA6F-BC7CCB82E940}" type="parTrans" cxnId="{3E510115-3EEE-473C-A889-6A145C3F3768}">
      <dgm:prSet/>
      <dgm:spPr/>
      <dgm:t>
        <a:bodyPr/>
        <a:lstStyle/>
        <a:p>
          <a:endParaRPr lang="en-US"/>
        </a:p>
      </dgm:t>
    </dgm:pt>
    <dgm:pt modelId="{493FDE7F-1A89-4C59-8215-8540344CCEEE}" type="sibTrans" cxnId="{3E510115-3EEE-473C-A889-6A145C3F3768}">
      <dgm:prSet/>
      <dgm:spPr/>
      <dgm:t>
        <a:bodyPr/>
        <a:lstStyle/>
        <a:p>
          <a:endParaRPr lang="en-US"/>
        </a:p>
      </dgm:t>
    </dgm:pt>
    <dgm:pt modelId="{EC8AE153-0F90-44B6-BA03-DA4A9F8C1402}" type="pres">
      <dgm:prSet presAssocID="{5349654E-63A2-460F-853D-E01FFEA1E949}" presName="Name0" presStyleCnt="0">
        <dgm:presLayoutVars>
          <dgm:dir/>
          <dgm:animLvl val="lvl"/>
          <dgm:resizeHandles val="exact"/>
        </dgm:presLayoutVars>
      </dgm:prSet>
      <dgm:spPr/>
    </dgm:pt>
    <dgm:pt modelId="{6044840D-80B2-49D6-8F0F-18C44A594AEB}" type="pres">
      <dgm:prSet presAssocID="{E16E6347-B15B-41C0-A25A-9F34A85E80C6}" presName="composite" presStyleCnt="0"/>
      <dgm:spPr/>
    </dgm:pt>
    <dgm:pt modelId="{92FF2F22-44C1-4FF1-9D9B-A5078ADBA41C}" type="pres">
      <dgm:prSet presAssocID="{E16E6347-B15B-41C0-A25A-9F34A85E80C6}" presName="parTx" presStyleLbl="alignNode1" presStyleIdx="0" presStyleCnt="1">
        <dgm:presLayoutVars>
          <dgm:chMax val="0"/>
          <dgm:chPref val="0"/>
          <dgm:bulletEnabled val="1"/>
        </dgm:presLayoutVars>
      </dgm:prSet>
      <dgm:spPr/>
    </dgm:pt>
    <dgm:pt modelId="{E18F32E7-B5D5-4EF8-A297-2D5D766A37D8}" type="pres">
      <dgm:prSet presAssocID="{E16E6347-B15B-41C0-A25A-9F34A85E80C6}" presName="desTx" presStyleLbl="alignAccFollowNode1" presStyleIdx="0" presStyleCnt="1">
        <dgm:presLayoutVars>
          <dgm:bulletEnabled val="1"/>
        </dgm:presLayoutVars>
      </dgm:prSet>
      <dgm:spPr/>
    </dgm:pt>
  </dgm:ptLst>
  <dgm:cxnLst>
    <dgm:cxn modelId="{3E510115-3EEE-473C-A889-6A145C3F3768}" srcId="{E79F27E1-EB64-413B-9574-E90C41428897}" destId="{582A9E9C-2197-4C96-A932-A66F9601313D}" srcOrd="0" destOrd="0" parTransId="{08402097-70FA-465F-BA6F-BC7CCB82E940}" sibTransId="{493FDE7F-1A89-4C59-8215-8540344CCEEE}"/>
    <dgm:cxn modelId="{99A95A29-7BFB-41A4-86D0-FC0AB83DF6B5}" type="presOf" srcId="{E79F27E1-EB64-413B-9574-E90C41428897}" destId="{E18F32E7-B5D5-4EF8-A297-2D5D766A37D8}" srcOrd="0" destOrd="0" presId="urn:microsoft.com/office/officeart/2005/8/layout/hList1"/>
    <dgm:cxn modelId="{D2AE7E5D-CA91-4CFF-B311-E652729B4007}" srcId="{E16E6347-B15B-41C0-A25A-9F34A85E80C6}" destId="{E79F27E1-EB64-413B-9574-E90C41428897}" srcOrd="0" destOrd="0" parTransId="{DE0550AB-30D0-4634-8694-F21C8F16F3E8}" sibTransId="{8E593D2B-978B-416B-8A15-D30FE65FDF44}"/>
    <dgm:cxn modelId="{6097E842-0AAB-4F38-94D2-C362A759F454}" type="presOf" srcId="{5349654E-63A2-460F-853D-E01FFEA1E949}" destId="{EC8AE153-0F90-44B6-BA03-DA4A9F8C1402}" srcOrd="0" destOrd="0" presId="urn:microsoft.com/office/officeart/2005/8/layout/hList1"/>
    <dgm:cxn modelId="{C5004143-75E5-402D-B432-9AC07DFD9F94}" type="presOf" srcId="{E16E6347-B15B-41C0-A25A-9F34A85E80C6}" destId="{92FF2F22-44C1-4FF1-9D9B-A5078ADBA41C}" srcOrd="0" destOrd="0" presId="urn:microsoft.com/office/officeart/2005/8/layout/hList1"/>
    <dgm:cxn modelId="{92574D77-CE82-49BF-B3BA-7569168CD033}" type="presOf" srcId="{CD196C69-A4AC-47C7-9FF8-DA4BD226E8B4}" destId="{E18F32E7-B5D5-4EF8-A297-2D5D766A37D8}" srcOrd="0" destOrd="2" presId="urn:microsoft.com/office/officeart/2005/8/layout/hList1"/>
    <dgm:cxn modelId="{93B82778-A3AE-49DD-A1BB-1D491CBF90EA}" srcId="{5349654E-63A2-460F-853D-E01FFEA1E949}" destId="{E16E6347-B15B-41C0-A25A-9F34A85E80C6}" srcOrd="0" destOrd="0" parTransId="{C655AFAB-A446-4EEE-A635-642C6318740E}" sibTransId="{D4F90C6E-E0D3-4185-8906-C1499076764D}"/>
    <dgm:cxn modelId="{E41D3658-1C6F-454A-A61F-EC9A5D42CE93}" srcId="{E79F27E1-EB64-413B-9574-E90C41428897}" destId="{967854AD-37A8-4C19-9201-1D8812C52967}" srcOrd="4" destOrd="0" parTransId="{23DF6AD0-D4BA-4358-9267-574AEF4DA950}" sibTransId="{B4908F17-3AEB-44BE-82BA-D9563C5B6D44}"/>
    <dgm:cxn modelId="{86BFBE96-FB4D-4C53-96FB-97D9D8D2DDC2}" type="presOf" srcId="{582A9E9C-2197-4C96-A932-A66F9601313D}" destId="{E18F32E7-B5D5-4EF8-A297-2D5D766A37D8}" srcOrd="0" destOrd="1" presId="urn:microsoft.com/office/officeart/2005/8/layout/hList1"/>
    <dgm:cxn modelId="{6AB51F98-A98C-4FC5-977D-5B55810F4631}" type="presOf" srcId="{D879E760-46DF-41A7-B28E-3EF842CC1942}" destId="{E18F32E7-B5D5-4EF8-A297-2D5D766A37D8}" srcOrd="0" destOrd="6" presId="urn:microsoft.com/office/officeart/2005/8/layout/hList1"/>
    <dgm:cxn modelId="{3BD508A5-D9F6-4ACC-9173-06685CDEC0BA}" type="presOf" srcId="{0913B47F-A42F-43D9-956F-97BA4D7B1D43}" destId="{E18F32E7-B5D5-4EF8-A297-2D5D766A37D8}" srcOrd="0" destOrd="4" presId="urn:microsoft.com/office/officeart/2005/8/layout/hList1"/>
    <dgm:cxn modelId="{C35946A6-CB31-49E3-BFDB-B4F79C0A9EE4}" srcId="{E79F27E1-EB64-413B-9574-E90C41428897}" destId="{0913B47F-A42F-43D9-956F-97BA4D7B1D43}" srcOrd="3" destOrd="0" parTransId="{86AEEC9A-CF19-4130-8A05-A38B264F0BC3}" sibTransId="{CC1C4F4E-4F9D-4649-8367-59B4206CC9CA}"/>
    <dgm:cxn modelId="{D342C8AC-4365-4019-BC94-A74E6B7E2C73}" srcId="{E79F27E1-EB64-413B-9574-E90C41428897}" destId="{FD7EB5A6-BC7F-409F-9348-E3F9B921B29C}" srcOrd="2" destOrd="0" parTransId="{0B787E77-5546-4FFE-B052-787410167F03}" sibTransId="{56B92D17-D03F-4271-9891-7CC25726F21D}"/>
    <dgm:cxn modelId="{473A46D3-8677-403F-91C7-3E9B118E91DC}" srcId="{E79F27E1-EB64-413B-9574-E90C41428897}" destId="{D879E760-46DF-41A7-B28E-3EF842CC1942}" srcOrd="5" destOrd="0" parTransId="{B4C77EC8-1669-47EB-8541-AC5331E318C1}" sibTransId="{2DFC61E5-6B8E-4ADE-A069-1F33446357D6}"/>
    <dgm:cxn modelId="{15760FEB-5327-4CCE-A7CD-BE0E66654B7D}" type="presOf" srcId="{967854AD-37A8-4C19-9201-1D8812C52967}" destId="{E18F32E7-B5D5-4EF8-A297-2D5D766A37D8}" srcOrd="0" destOrd="5" presId="urn:microsoft.com/office/officeart/2005/8/layout/hList1"/>
    <dgm:cxn modelId="{6DE418EC-C319-404A-B998-C5346FBF4EA9}" type="presOf" srcId="{FD7EB5A6-BC7F-409F-9348-E3F9B921B29C}" destId="{E18F32E7-B5D5-4EF8-A297-2D5D766A37D8}" srcOrd="0" destOrd="3" presId="urn:microsoft.com/office/officeart/2005/8/layout/hList1"/>
    <dgm:cxn modelId="{36D525F8-88B4-482A-A8F1-D13E4046AC1C}" srcId="{E79F27E1-EB64-413B-9574-E90C41428897}" destId="{CD196C69-A4AC-47C7-9FF8-DA4BD226E8B4}" srcOrd="1" destOrd="0" parTransId="{7686B2C6-C140-46BE-9B44-5EF3F7E42ECA}" sibTransId="{04B0CC05-8B0E-472F-A75D-DA6E70977702}"/>
    <dgm:cxn modelId="{32CB533C-936A-4549-ADD7-704FABA18533}" type="presParOf" srcId="{EC8AE153-0F90-44B6-BA03-DA4A9F8C1402}" destId="{6044840D-80B2-49D6-8F0F-18C44A594AEB}" srcOrd="0" destOrd="0" presId="urn:microsoft.com/office/officeart/2005/8/layout/hList1"/>
    <dgm:cxn modelId="{7DA9D1F4-B1B7-4E84-AD9F-A5A65ECFD0E0}" type="presParOf" srcId="{6044840D-80B2-49D6-8F0F-18C44A594AEB}" destId="{92FF2F22-44C1-4FF1-9D9B-A5078ADBA41C}" srcOrd="0" destOrd="0" presId="urn:microsoft.com/office/officeart/2005/8/layout/hList1"/>
    <dgm:cxn modelId="{A9B75149-F116-45A6-A21A-177A2F04DC8D}" type="presParOf" srcId="{6044840D-80B2-49D6-8F0F-18C44A594AEB}" destId="{E18F32E7-B5D5-4EF8-A297-2D5D766A37D8}"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2449669-3B66-43A9-A743-23C93B7012B4}"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23391AE1-4634-4B83-9F8E-A41817D70FB2}">
      <dgm:prSet custT="1"/>
      <dgm:spPr/>
      <dgm:t>
        <a:bodyPr/>
        <a:lstStyle/>
        <a:p>
          <a:r>
            <a:rPr lang="en-US" sz="1800" dirty="0"/>
            <a:t>Cross-validation and ensemble construction helps explore predictor importance:</a:t>
          </a:r>
        </a:p>
      </dgm:t>
    </dgm:pt>
    <dgm:pt modelId="{30F24F77-40F4-45AA-94A7-1C356AEBF32A}" type="parTrans" cxnId="{A2EF54B2-9A3E-48A7-805F-11DD79397ECA}">
      <dgm:prSet/>
      <dgm:spPr/>
      <dgm:t>
        <a:bodyPr/>
        <a:lstStyle/>
        <a:p>
          <a:endParaRPr lang="en-US"/>
        </a:p>
      </dgm:t>
    </dgm:pt>
    <dgm:pt modelId="{4AD53C8E-9B4C-490F-8BCC-C0BF52614A2E}" type="sibTrans" cxnId="{A2EF54B2-9A3E-48A7-805F-11DD79397ECA}">
      <dgm:prSet/>
      <dgm:spPr/>
      <dgm:t>
        <a:bodyPr/>
        <a:lstStyle/>
        <a:p>
          <a:endParaRPr lang="en-US"/>
        </a:p>
      </dgm:t>
    </dgm:pt>
    <dgm:pt modelId="{AA9F4A54-465D-47A9-9D47-9DCBAA655102}">
      <dgm:prSet custT="1"/>
      <dgm:spPr/>
      <dgm:t>
        <a:bodyPr/>
        <a:lstStyle/>
        <a:p>
          <a:r>
            <a:rPr lang="en-US" sz="1800" dirty="0"/>
            <a:t>Which features show up most often in the trees (and higher up in them)?</a:t>
          </a:r>
        </a:p>
      </dgm:t>
    </dgm:pt>
    <dgm:pt modelId="{E2D1053D-EEF0-40AB-8C34-5D27345D9701}" type="parTrans" cxnId="{A70D3762-8D7F-43DC-AB3B-84A7A8F988FB}">
      <dgm:prSet/>
      <dgm:spPr/>
      <dgm:t>
        <a:bodyPr/>
        <a:lstStyle/>
        <a:p>
          <a:endParaRPr lang="en-US"/>
        </a:p>
      </dgm:t>
    </dgm:pt>
    <dgm:pt modelId="{508957CD-9447-4DF9-A1C3-30AFAB21B4F7}" type="sibTrans" cxnId="{A70D3762-8D7F-43DC-AB3B-84A7A8F988FB}">
      <dgm:prSet/>
      <dgm:spPr/>
      <dgm:t>
        <a:bodyPr/>
        <a:lstStyle/>
        <a:p>
          <a:endParaRPr lang="en-US"/>
        </a:p>
      </dgm:t>
    </dgm:pt>
    <dgm:pt modelId="{2E702179-820A-474D-B413-36E8392B4DB7}">
      <dgm:prSet custT="1"/>
      <dgm:spPr/>
      <dgm:t>
        <a:bodyPr/>
        <a:lstStyle/>
        <a:p>
          <a:r>
            <a:rPr lang="en-US" sz="1800" dirty="0"/>
            <a:t>Which features, if removed from consideration, result in substantially worse prediction?</a:t>
          </a:r>
        </a:p>
      </dgm:t>
    </dgm:pt>
    <dgm:pt modelId="{8FF73A77-0DA7-4044-AC6F-4A2B57CF75A8}" type="parTrans" cxnId="{10E154A3-51A8-4F15-853D-3AE9568F6212}">
      <dgm:prSet/>
      <dgm:spPr/>
      <dgm:t>
        <a:bodyPr/>
        <a:lstStyle/>
        <a:p>
          <a:endParaRPr lang="en-US"/>
        </a:p>
      </dgm:t>
    </dgm:pt>
    <dgm:pt modelId="{0CF184B1-BB4A-4E44-9164-9A53D3B0AC67}" type="sibTrans" cxnId="{10E154A3-51A8-4F15-853D-3AE9568F6212}">
      <dgm:prSet/>
      <dgm:spPr/>
      <dgm:t>
        <a:bodyPr/>
        <a:lstStyle/>
        <a:p>
          <a:endParaRPr lang="en-US"/>
        </a:p>
      </dgm:t>
    </dgm:pt>
    <dgm:pt modelId="{9A5CDA0E-2B4A-45F0-B8FB-F81B95E7B8B9}" type="pres">
      <dgm:prSet presAssocID="{F2449669-3B66-43A9-A743-23C93B7012B4}" presName="diagram" presStyleCnt="0">
        <dgm:presLayoutVars>
          <dgm:chPref val="1"/>
          <dgm:dir/>
          <dgm:animOne val="branch"/>
          <dgm:animLvl val="lvl"/>
          <dgm:resizeHandles val="exact"/>
        </dgm:presLayoutVars>
      </dgm:prSet>
      <dgm:spPr/>
    </dgm:pt>
    <dgm:pt modelId="{318B286E-8650-4A63-BAF5-6FE994DCE165}" type="pres">
      <dgm:prSet presAssocID="{23391AE1-4634-4B83-9F8E-A41817D70FB2}" presName="root1" presStyleCnt="0"/>
      <dgm:spPr/>
    </dgm:pt>
    <dgm:pt modelId="{551430A7-37EF-4E6A-AD2A-88747D24F866}" type="pres">
      <dgm:prSet presAssocID="{23391AE1-4634-4B83-9F8E-A41817D70FB2}" presName="LevelOneTextNode" presStyleLbl="node0" presStyleIdx="0" presStyleCnt="1" custScaleY="170669">
        <dgm:presLayoutVars>
          <dgm:chPref val="3"/>
        </dgm:presLayoutVars>
      </dgm:prSet>
      <dgm:spPr/>
    </dgm:pt>
    <dgm:pt modelId="{F3E2F601-CC76-4471-B3D6-4602752CFC81}" type="pres">
      <dgm:prSet presAssocID="{23391AE1-4634-4B83-9F8E-A41817D70FB2}" presName="level2hierChild" presStyleCnt="0"/>
      <dgm:spPr/>
    </dgm:pt>
    <dgm:pt modelId="{29A255B9-1294-473E-A40B-30A5FCB7AAEE}" type="pres">
      <dgm:prSet presAssocID="{E2D1053D-EEF0-40AB-8C34-5D27345D9701}" presName="conn2-1" presStyleLbl="parChTrans1D2" presStyleIdx="0" presStyleCnt="2"/>
      <dgm:spPr/>
    </dgm:pt>
    <dgm:pt modelId="{B466DD8B-1759-462D-BA50-46B9A265B150}" type="pres">
      <dgm:prSet presAssocID="{E2D1053D-EEF0-40AB-8C34-5D27345D9701}" presName="connTx" presStyleLbl="parChTrans1D2" presStyleIdx="0" presStyleCnt="2"/>
      <dgm:spPr/>
    </dgm:pt>
    <dgm:pt modelId="{6AF11D3B-6B69-4B59-9A87-D85BA7CFDAAE}" type="pres">
      <dgm:prSet presAssocID="{AA9F4A54-465D-47A9-9D47-9DCBAA655102}" presName="root2" presStyleCnt="0"/>
      <dgm:spPr/>
    </dgm:pt>
    <dgm:pt modelId="{824ABEEE-9810-450E-9C30-94FB6B36D71E}" type="pres">
      <dgm:prSet presAssocID="{AA9F4A54-465D-47A9-9D47-9DCBAA655102}" presName="LevelTwoTextNode" presStyleLbl="node2" presStyleIdx="0" presStyleCnt="2" custScaleY="178855">
        <dgm:presLayoutVars>
          <dgm:chPref val="3"/>
        </dgm:presLayoutVars>
      </dgm:prSet>
      <dgm:spPr/>
    </dgm:pt>
    <dgm:pt modelId="{EE24B5BB-0840-485E-ABC2-C94D6E6211D3}" type="pres">
      <dgm:prSet presAssocID="{AA9F4A54-465D-47A9-9D47-9DCBAA655102}" presName="level3hierChild" presStyleCnt="0"/>
      <dgm:spPr/>
    </dgm:pt>
    <dgm:pt modelId="{64B16CD5-4958-4D29-9BBE-1B2D6868F5F8}" type="pres">
      <dgm:prSet presAssocID="{8FF73A77-0DA7-4044-AC6F-4A2B57CF75A8}" presName="conn2-1" presStyleLbl="parChTrans1D2" presStyleIdx="1" presStyleCnt="2"/>
      <dgm:spPr/>
    </dgm:pt>
    <dgm:pt modelId="{47283F2E-B5F5-4F05-83B8-5D854D96860D}" type="pres">
      <dgm:prSet presAssocID="{8FF73A77-0DA7-4044-AC6F-4A2B57CF75A8}" presName="connTx" presStyleLbl="parChTrans1D2" presStyleIdx="1" presStyleCnt="2"/>
      <dgm:spPr/>
    </dgm:pt>
    <dgm:pt modelId="{5BB6D461-4C07-4244-94F9-3F839F37DCDB}" type="pres">
      <dgm:prSet presAssocID="{2E702179-820A-474D-B413-36E8392B4DB7}" presName="root2" presStyleCnt="0"/>
      <dgm:spPr/>
    </dgm:pt>
    <dgm:pt modelId="{8112BC13-F0A6-496D-B1BA-B0A34D39B102}" type="pres">
      <dgm:prSet presAssocID="{2E702179-820A-474D-B413-36E8392B4DB7}" presName="LevelTwoTextNode" presStyleLbl="node2" presStyleIdx="1" presStyleCnt="2" custScaleY="189500">
        <dgm:presLayoutVars>
          <dgm:chPref val="3"/>
        </dgm:presLayoutVars>
      </dgm:prSet>
      <dgm:spPr/>
    </dgm:pt>
    <dgm:pt modelId="{8C5383E5-F1A5-469D-A627-499D43A77208}" type="pres">
      <dgm:prSet presAssocID="{2E702179-820A-474D-B413-36E8392B4DB7}" presName="level3hierChild" presStyleCnt="0"/>
      <dgm:spPr/>
    </dgm:pt>
  </dgm:ptLst>
  <dgm:cxnLst>
    <dgm:cxn modelId="{4521090D-24B8-49BA-A0CD-4B8C4405B540}" type="presOf" srcId="{8FF73A77-0DA7-4044-AC6F-4A2B57CF75A8}" destId="{64B16CD5-4958-4D29-9BBE-1B2D6868F5F8}" srcOrd="0" destOrd="0" presId="urn:microsoft.com/office/officeart/2005/8/layout/hierarchy2"/>
    <dgm:cxn modelId="{D593D22E-A972-473C-93F2-B48C448B152C}" type="presOf" srcId="{E2D1053D-EEF0-40AB-8C34-5D27345D9701}" destId="{B466DD8B-1759-462D-BA50-46B9A265B150}" srcOrd="1" destOrd="0" presId="urn:microsoft.com/office/officeart/2005/8/layout/hierarchy2"/>
    <dgm:cxn modelId="{A70D3762-8D7F-43DC-AB3B-84A7A8F988FB}" srcId="{23391AE1-4634-4B83-9F8E-A41817D70FB2}" destId="{AA9F4A54-465D-47A9-9D47-9DCBAA655102}" srcOrd="0" destOrd="0" parTransId="{E2D1053D-EEF0-40AB-8C34-5D27345D9701}" sibTransId="{508957CD-9447-4DF9-A1C3-30AFAB21B4F7}"/>
    <dgm:cxn modelId="{01DBA064-1AEE-43E2-891F-FDB087F9109F}" type="presOf" srcId="{E2D1053D-EEF0-40AB-8C34-5D27345D9701}" destId="{29A255B9-1294-473E-A40B-30A5FCB7AAEE}" srcOrd="0" destOrd="0" presId="urn:microsoft.com/office/officeart/2005/8/layout/hierarchy2"/>
    <dgm:cxn modelId="{38AFE875-215E-48CA-968D-45A28064C56C}" type="presOf" srcId="{2E702179-820A-474D-B413-36E8392B4DB7}" destId="{8112BC13-F0A6-496D-B1BA-B0A34D39B102}" srcOrd="0" destOrd="0" presId="urn:microsoft.com/office/officeart/2005/8/layout/hierarchy2"/>
    <dgm:cxn modelId="{1F14E359-C4AA-402B-A441-66CE7B51260E}" type="presOf" srcId="{8FF73A77-0DA7-4044-AC6F-4A2B57CF75A8}" destId="{47283F2E-B5F5-4F05-83B8-5D854D96860D}" srcOrd="1" destOrd="0" presId="urn:microsoft.com/office/officeart/2005/8/layout/hierarchy2"/>
    <dgm:cxn modelId="{10E154A3-51A8-4F15-853D-3AE9568F6212}" srcId="{23391AE1-4634-4B83-9F8E-A41817D70FB2}" destId="{2E702179-820A-474D-B413-36E8392B4DB7}" srcOrd="1" destOrd="0" parTransId="{8FF73A77-0DA7-4044-AC6F-4A2B57CF75A8}" sibTransId="{0CF184B1-BB4A-4E44-9164-9A53D3B0AC67}"/>
    <dgm:cxn modelId="{6D2D08AF-B67E-400B-8087-8D2DE496BEAC}" type="presOf" srcId="{F2449669-3B66-43A9-A743-23C93B7012B4}" destId="{9A5CDA0E-2B4A-45F0-B8FB-F81B95E7B8B9}" srcOrd="0" destOrd="0" presId="urn:microsoft.com/office/officeart/2005/8/layout/hierarchy2"/>
    <dgm:cxn modelId="{A2EF54B2-9A3E-48A7-805F-11DD79397ECA}" srcId="{F2449669-3B66-43A9-A743-23C93B7012B4}" destId="{23391AE1-4634-4B83-9F8E-A41817D70FB2}" srcOrd="0" destOrd="0" parTransId="{30F24F77-40F4-45AA-94A7-1C356AEBF32A}" sibTransId="{4AD53C8E-9B4C-490F-8BCC-C0BF52614A2E}"/>
    <dgm:cxn modelId="{F31744B6-81F0-4651-8109-2FFFEFA9ACCB}" type="presOf" srcId="{AA9F4A54-465D-47A9-9D47-9DCBAA655102}" destId="{824ABEEE-9810-450E-9C30-94FB6B36D71E}" srcOrd="0" destOrd="0" presId="urn:microsoft.com/office/officeart/2005/8/layout/hierarchy2"/>
    <dgm:cxn modelId="{EFB5D3F6-6053-4523-B0F7-A6CB1631715A}" type="presOf" srcId="{23391AE1-4634-4B83-9F8E-A41817D70FB2}" destId="{551430A7-37EF-4E6A-AD2A-88747D24F866}" srcOrd="0" destOrd="0" presId="urn:microsoft.com/office/officeart/2005/8/layout/hierarchy2"/>
    <dgm:cxn modelId="{6631DD9D-3728-4C42-AAF5-5D5BD387A283}" type="presParOf" srcId="{9A5CDA0E-2B4A-45F0-B8FB-F81B95E7B8B9}" destId="{318B286E-8650-4A63-BAF5-6FE994DCE165}" srcOrd="0" destOrd="0" presId="urn:microsoft.com/office/officeart/2005/8/layout/hierarchy2"/>
    <dgm:cxn modelId="{ED6DDA01-A3F1-457F-9553-02C8B9FA62E5}" type="presParOf" srcId="{318B286E-8650-4A63-BAF5-6FE994DCE165}" destId="{551430A7-37EF-4E6A-AD2A-88747D24F866}" srcOrd="0" destOrd="0" presId="urn:microsoft.com/office/officeart/2005/8/layout/hierarchy2"/>
    <dgm:cxn modelId="{2C92BB8E-C420-408F-9E1F-8C4A0EB4C623}" type="presParOf" srcId="{318B286E-8650-4A63-BAF5-6FE994DCE165}" destId="{F3E2F601-CC76-4471-B3D6-4602752CFC81}" srcOrd="1" destOrd="0" presId="urn:microsoft.com/office/officeart/2005/8/layout/hierarchy2"/>
    <dgm:cxn modelId="{86CB1C21-868C-41E9-A29D-6ADAA48F51D0}" type="presParOf" srcId="{F3E2F601-CC76-4471-B3D6-4602752CFC81}" destId="{29A255B9-1294-473E-A40B-30A5FCB7AAEE}" srcOrd="0" destOrd="0" presId="urn:microsoft.com/office/officeart/2005/8/layout/hierarchy2"/>
    <dgm:cxn modelId="{FB4E3DF2-3010-47A8-80E9-60592431B5B6}" type="presParOf" srcId="{29A255B9-1294-473E-A40B-30A5FCB7AAEE}" destId="{B466DD8B-1759-462D-BA50-46B9A265B150}" srcOrd="0" destOrd="0" presId="urn:microsoft.com/office/officeart/2005/8/layout/hierarchy2"/>
    <dgm:cxn modelId="{4343813F-E660-432B-B11B-5DD76300A604}" type="presParOf" srcId="{F3E2F601-CC76-4471-B3D6-4602752CFC81}" destId="{6AF11D3B-6B69-4B59-9A87-D85BA7CFDAAE}" srcOrd="1" destOrd="0" presId="urn:microsoft.com/office/officeart/2005/8/layout/hierarchy2"/>
    <dgm:cxn modelId="{BBCEA621-B93C-4B4C-9594-76AF45252D26}" type="presParOf" srcId="{6AF11D3B-6B69-4B59-9A87-D85BA7CFDAAE}" destId="{824ABEEE-9810-450E-9C30-94FB6B36D71E}" srcOrd="0" destOrd="0" presId="urn:microsoft.com/office/officeart/2005/8/layout/hierarchy2"/>
    <dgm:cxn modelId="{91BDD0C2-88CB-4917-8BBA-FF8D0D9152D8}" type="presParOf" srcId="{6AF11D3B-6B69-4B59-9A87-D85BA7CFDAAE}" destId="{EE24B5BB-0840-485E-ABC2-C94D6E6211D3}" srcOrd="1" destOrd="0" presId="urn:microsoft.com/office/officeart/2005/8/layout/hierarchy2"/>
    <dgm:cxn modelId="{C07174B7-3977-480B-AC19-D3F9BB5277EA}" type="presParOf" srcId="{F3E2F601-CC76-4471-B3D6-4602752CFC81}" destId="{64B16CD5-4958-4D29-9BBE-1B2D6868F5F8}" srcOrd="2" destOrd="0" presId="urn:microsoft.com/office/officeart/2005/8/layout/hierarchy2"/>
    <dgm:cxn modelId="{7BCD74DE-9C48-4146-B58D-F65FBF991C9F}" type="presParOf" srcId="{64B16CD5-4958-4D29-9BBE-1B2D6868F5F8}" destId="{47283F2E-B5F5-4F05-83B8-5D854D96860D}" srcOrd="0" destOrd="0" presId="urn:microsoft.com/office/officeart/2005/8/layout/hierarchy2"/>
    <dgm:cxn modelId="{0030ACEC-21A1-4735-96FB-58F457AE15F9}" type="presParOf" srcId="{F3E2F601-CC76-4471-B3D6-4602752CFC81}" destId="{5BB6D461-4C07-4244-94F9-3F839F37DCDB}" srcOrd="3" destOrd="0" presId="urn:microsoft.com/office/officeart/2005/8/layout/hierarchy2"/>
    <dgm:cxn modelId="{A298737C-6D0B-4008-A928-2D382E13963A}" type="presParOf" srcId="{5BB6D461-4C07-4244-94F9-3F839F37DCDB}" destId="{8112BC13-F0A6-496D-B1BA-B0A34D39B102}" srcOrd="0" destOrd="0" presId="urn:microsoft.com/office/officeart/2005/8/layout/hierarchy2"/>
    <dgm:cxn modelId="{47CD2659-A08A-4F6A-A21C-AF8C90662B23}" type="presParOf" srcId="{5BB6D461-4C07-4244-94F9-3F839F37DCDB}" destId="{8C5383E5-F1A5-469D-A627-499D43A77208}"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1845CE-63BD-4B43-BEDD-18343EAFFE55}">
      <dsp:nvSpPr>
        <dsp:cNvPr id="0" name=""/>
        <dsp:cNvSpPr/>
      </dsp:nvSpPr>
      <dsp:spPr>
        <a:xfrm>
          <a:off x="0" y="55244"/>
          <a:ext cx="6767875" cy="911430"/>
        </a:xfrm>
        <a:prstGeom prst="roundRect">
          <a:avLst/>
        </a:prstGeom>
        <a:solidFill>
          <a:schemeClr val="accent2">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Iron Law of Prediction</a:t>
          </a:r>
        </a:p>
      </dsp:txBody>
      <dsp:txXfrm>
        <a:off x="44492" y="99736"/>
        <a:ext cx="6678891" cy="822446"/>
      </dsp:txXfrm>
    </dsp:sp>
    <dsp:sp modelId="{84EB9105-BC82-4558-A43A-DBB2F94FE967}">
      <dsp:nvSpPr>
        <dsp:cNvPr id="0" name=""/>
        <dsp:cNvSpPr/>
      </dsp:nvSpPr>
      <dsp:spPr>
        <a:xfrm>
          <a:off x="0" y="1076114"/>
          <a:ext cx="6767875" cy="911430"/>
        </a:xfrm>
        <a:prstGeom prst="roundRect">
          <a:avLst/>
        </a:prstGeom>
        <a:solidFill>
          <a:srgbClr val="C0000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Penalization</a:t>
          </a:r>
        </a:p>
      </dsp:txBody>
      <dsp:txXfrm>
        <a:off x="44492" y="1120606"/>
        <a:ext cx="6678891" cy="822446"/>
      </dsp:txXfrm>
    </dsp:sp>
    <dsp:sp modelId="{6C18BF48-6D31-48A5-856B-E05917809130}">
      <dsp:nvSpPr>
        <dsp:cNvPr id="0" name=""/>
        <dsp:cNvSpPr/>
      </dsp:nvSpPr>
      <dsp:spPr>
        <a:xfrm>
          <a:off x="0" y="2096984"/>
          <a:ext cx="6767875" cy="911430"/>
        </a:xfrm>
        <a:prstGeom prst="roundRect">
          <a:avLst/>
        </a:prstGeom>
        <a:solidFill>
          <a:srgbClr val="00B0F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Cross-Validation</a:t>
          </a:r>
        </a:p>
      </dsp:txBody>
      <dsp:txXfrm>
        <a:off x="44492" y="2141476"/>
        <a:ext cx="6678891" cy="822446"/>
      </dsp:txXfrm>
    </dsp:sp>
    <dsp:sp modelId="{8A6558FE-4130-4777-97A1-3C02880156AB}">
      <dsp:nvSpPr>
        <dsp:cNvPr id="0" name=""/>
        <dsp:cNvSpPr/>
      </dsp:nvSpPr>
      <dsp:spPr>
        <a:xfrm>
          <a:off x="0" y="3117855"/>
          <a:ext cx="6767875" cy="911430"/>
        </a:xfrm>
        <a:prstGeom prst="roundRect">
          <a:avLst/>
        </a:prstGeom>
        <a:solidFill>
          <a:schemeClr val="accent4">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Parameter Tuning </a:t>
          </a:r>
        </a:p>
      </dsp:txBody>
      <dsp:txXfrm>
        <a:off x="44492" y="3162347"/>
        <a:ext cx="6678891" cy="822446"/>
      </dsp:txXfrm>
    </dsp:sp>
    <dsp:sp modelId="{E750C9F0-C23E-43A5-9242-DE700BCD31BC}">
      <dsp:nvSpPr>
        <dsp:cNvPr id="0" name=""/>
        <dsp:cNvSpPr/>
      </dsp:nvSpPr>
      <dsp:spPr>
        <a:xfrm>
          <a:off x="0" y="4138725"/>
          <a:ext cx="6767875" cy="911430"/>
        </a:xfrm>
        <a:prstGeom prst="roundRect">
          <a:avLst/>
        </a:prstGeom>
        <a:solidFill>
          <a:schemeClr val="accent5">
            <a:hueOff val="-6758543"/>
            <a:satOff val="-17419"/>
            <a:lumOff val="-1176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Ensembles of Weak Learners</a:t>
          </a:r>
        </a:p>
      </dsp:txBody>
      <dsp:txXfrm>
        <a:off x="44492" y="4183217"/>
        <a:ext cx="6678891" cy="8224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983E1-E412-4420-92A5-59A81BFE9286}">
      <dsp:nvSpPr>
        <dsp:cNvPr id="0" name=""/>
        <dsp:cNvSpPr/>
      </dsp:nvSpPr>
      <dsp:spPr>
        <a:xfrm rot="5400000">
          <a:off x="2383994" y="230561"/>
          <a:ext cx="3812746" cy="389021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t>Observations that appear similar based on our limited view of X may actually be very dissimilar</a:t>
          </a:r>
        </a:p>
        <a:p>
          <a:pPr marL="171450" lvl="1" indent="-171450" algn="l" defTabSz="711200">
            <a:lnSpc>
              <a:spcPct val="90000"/>
            </a:lnSpc>
            <a:spcBef>
              <a:spcPct val="0"/>
            </a:spcBef>
            <a:spcAft>
              <a:spcPct val="15000"/>
            </a:spcAft>
            <a:buChar char="•"/>
          </a:pPr>
          <a:r>
            <a:rPr lang="en-US" sz="1600" kern="1200" dirty="0"/>
            <a:t>If we “broaden our view” to produce general predictions applicable across the whole space of X, say by fitting a line or a (hyper-)plane, we will systematically over-predict or under-predict (bias) for some subsets of X.</a:t>
          </a:r>
        </a:p>
        <a:p>
          <a:pPr marL="171450" lvl="1" indent="-171450" algn="l" defTabSz="711200">
            <a:lnSpc>
              <a:spcPct val="90000"/>
            </a:lnSpc>
            <a:spcBef>
              <a:spcPct val="0"/>
            </a:spcBef>
            <a:spcAft>
              <a:spcPct val="15000"/>
            </a:spcAft>
            <a:buChar char="•"/>
          </a:pPr>
          <a:r>
            <a:rPr lang="en-US" sz="1600" kern="1200" dirty="0"/>
            <a:t>If we “narrow our view” to produce very specific predictions tailor-made for subsets of X, those estimates may jump around substantially from sample to sample.</a:t>
          </a:r>
        </a:p>
      </dsp:txBody>
      <dsp:txXfrm rot="-5400000">
        <a:off x="2345260" y="455419"/>
        <a:ext cx="3704092" cy="3440500"/>
      </dsp:txXfrm>
    </dsp:sp>
    <dsp:sp modelId="{B9F0E0F7-948B-451E-BA93-E6FBB8504649}">
      <dsp:nvSpPr>
        <dsp:cNvPr id="0" name=""/>
        <dsp:cNvSpPr/>
      </dsp:nvSpPr>
      <dsp:spPr>
        <a:xfrm>
          <a:off x="1342" y="0"/>
          <a:ext cx="2343917" cy="43513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a:t>As the number of predictors (dimensions of X) increases, any given sample’s coverage of the whole space of X becomes sparse</a:t>
          </a:r>
        </a:p>
      </dsp:txBody>
      <dsp:txXfrm>
        <a:off x="115763" y="114421"/>
        <a:ext cx="2115075" cy="41224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46CEAA-8F47-4D7B-939A-93266782FA23}">
      <dsp:nvSpPr>
        <dsp:cNvPr id="0" name=""/>
        <dsp:cNvSpPr/>
      </dsp:nvSpPr>
      <dsp:spPr>
        <a:xfrm rot="5400000">
          <a:off x="3599063" y="-1010650"/>
          <a:ext cx="1752531" cy="421207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14:m xmlns:a14="http://schemas.microsoft.com/office/drawing/2010/main">
            <m:oMath xmlns:m="http://schemas.openxmlformats.org/officeDocument/2006/math">
              <m:sSub>
                <m:sSubPr>
                  <m:ctrlPr>
                    <a:rPr lang="en-US" sz="2000" i="1" kern="1200" smtClean="0">
                      <a:latin typeface="Cambria Math" panose="02040503050406030204" pitchFamily="18" charset="0"/>
                    </a:rPr>
                  </m:ctrlPr>
                </m:sSubPr>
                <m:e>
                  <m:acc>
                    <m:accPr>
                      <m:chr m:val="̂"/>
                      <m:ctrlPr>
                        <a:rPr lang="en-US" sz="2000" i="1" kern="1200">
                          <a:latin typeface="Cambria Math" panose="02040503050406030204" pitchFamily="18" charset="0"/>
                        </a:rPr>
                      </m:ctrlPr>
                    </m:accPr>
                    <m:e>
                      <m:r>
                        <a:rPr lang="en-US" sz="2000" i="1" kern="1200">
                          <a:latin typeface="Cambria Math" panose="02040503050406030204" pitchFamily="18" charset="0"/>
                        </a:rPr>
                        <m:t>𝛽</m:t>
                      </m:r>
                    </m:e>
                  </m:acc>
                </m:e>
                <m:sub>
                  <m:r>
                    <a:rPr lang="en-US" sz="2000" i="1" kern="1200">
                      <a:latin typeface="Cambria Math" panose="02040503050406030204" pitchFamily="18" charset="0"/>
                    </a:rPr>
                    <m:t>𝐿𝑎𝑠𝑠𝑜</m:t>
                  </m:r>
                </m:sub>
              </m:sSub>
              <m:r>
                <a:rPr lang="en-US" sz="2000" i="1" kern="1200">
                  <a:latin typeface="Cambria Math" panose="02040503050406030204" pitchFamily="18" charset="0"/>
                </a:rPr>
                <m:t>= </m:t>
              </m:r>
              <m:func>
                <m:funcPr>
                  <m:ctrlPr>
                    <a:rPr lang="en-US" sz="2000" i="1" kern="1200">
                      <a:latin typeface="Cambria Math" panose="02040503050406030204" pitchFamily="18" charset="0"/>
                    </a:rPr>
                  </m:ctrlPr>
                </m:funcPr>
                <m:fName>
                  <m:limLow>
                    <m:limLowPr>
                      <m:ctrlPr>
                        <a:rPr lang="en-US" sz="2000" i="1" kern="1200">
                          <a:latin typeface="Cambria Math" panose="02040503050406030204" pitchFamily="18" charset="0"/>
                        </a:rPr>
                      </m:ctrlPr>
                    </m:limLowPr>
                    <m:e>
                      <m:r>
                        <m:rPr>
                          <m:sty m:val="p"/>
                        </m:rPr>
                        <a:rPr lang="en-US" sz="2000" kern="1200">
                          <a:latin typeface="Cambria Math" panose="02040503050406030204" pitchFamily="18" charset="0"/>
                        </a:rPr>
                        <m:t>argmin</m:t>
                      </m:r>
                    </m:e>
                    <m:lim>
                      <m:r>
                        <a:rPr lang="en-US" sz="2000" i="1" kern="1200">
                          <a:latin typeface="Cambria Math" panose="02040503050406030204" pitchFamily="18" charset="0"/>
                        </a:rPr>
                        <m:t>𝛽</m:t>
                      </m:r>
                    </m:lim>
                  </m:limLow>
                </m:fName>
                <m:e>
                  <m:d>
                    <m:dPr>
                      <m:begChr m:val="{"/>
                      <m:endChr m:val="}"/>
                      <m:ctrlPr>
                        <a:rPr lang="en-US" sz="2000" i="1" kern="1200">
                          <a:latin typeface="Cambria Math" panose="02040503050406030204" pitchFamily="18" charset="0"/>
                        </a:rPr>
                      </m:ctrlPr>
                    </m:dPr>
                    <m:e>
                      <m:nary>
                        <m:naryPr>
                          <m:chr m:val="∑"/>
                          <m:ctrlPr>
                            <a:rPr lang="en-US" sz="2000" i="1" kern="1200" smtClean="0">
                              <a:solidFill>
                                <a:schemeClr val="accent1">
                                  <a:lumMod val="50000"/>
                                </a:schemeClr>
                              </a:solidFill>
                              <a:latin typeface="Cambria Math" panose="02040503050406030204" pitchFamily="18" charset="0"/>
                            </a:rPr>
                          </m:ctrlPr>
                        </m:naryPr>
                        <m:sub>
                          <m:r>
                            <m:rPr>
                              <m:brk m:alnAt="23"/>
                            </m:rPr>
                            <a:rPr lang="en-US" sz="2000" i="1" kern="1200">
                              <a:solidFill>
                                <a:schemeClr val="accent1">
                                  <a:lumMod val="50000"/>
                                </a:schemeClr>
                              </a:solidFill>
                              <a:latin typeface="Cambria Math" panose="02040503050406030204" pitchFamily="18" charset="0"/>
                            </a:rPr>
                            <m:t>𝑖</m:t>
                          </m:r>
                          <m:r>
                            <a:rPr lang="en-US" sz="2000" i="1" kern="1200">
                              <a:solidFill>
                                <a:schemeClr val="accent1">
                                  <a:lumMod val="50000"/>
                                </a:schemeClr>
                              </a:solidFill>
                              <a:latin typeface="Cambria Math" panose="02040503050406030204" pitchFamily="18" charset="0"/>
                            </a:rPr>
                            <m:t>=1</m:t>
                          </m:r>
                        </m:sub>
                        <m:sup>
                          <m:r>
                            <a:rPr lang="en-US" sz="2000" i="1" kern="1200">
                              <a:solidFill>
                                <a:schemeClr val="accent1">
                                  <a:lumMod val="50000"/>
                                </a:schemeClr>
                              </a:solidFill>
                              <a:latin typeface="Cambria Math" panose="02040503050406030204" pitchFamily="18" charset="0"/>
                            </a:rPr>
                            <m:t>𝑁</m:t>
                          </m:r>
                        </m:sup>
                        <m:e>
                          <m:sSup>
                            <m:sSupPr>
                              <m:ctrlPr>
                                <a:rPr lang="en-US" sz="2000" i="1" kern="1200">
                                  <a:solidFill>
                                    <a:schemeClr val="accent1">
                                      <a:lumMod val="50000"/>
                                    </a:schemeClr>
                                  </a:solidFill>
                                  <a:latin typeface="Cambria Math" panose="02040503050406030204" pitchFamily="18" charset="0"/>
                                </a:rPr>
                              </m:ctrlPr>
                            </m:sSupPr>
                            <m:e>
                              <m:d>
                                <m:dPr>
                                  <m:ctrlPr>
                                    <a:rPr lang="en-US" sz="2000" i="1" kern="1200">
                                      <a:solidFill>
                                        <a:schemeClr val="accent1">
                                          <a:lumMod val="50000"/>
                                        </a:schemeClr>
                                      </a:solidFill>
                                      <a:latin typeface="Cambria Math" panose="02040503050406030204" pitchFamily="18" charset="0"/>
                                    </a:rPr>
                                  </m:ctrlPr>
                                </m:dPr>
                                <m:e>
                                  <m:sSub>
                                    <m:sSubPr>
                                      <m:ctrlPr>
                                        <a:rPr lang="en-US" sz="2000" i="1" kern="1200" smtClean="0">
                                          <a:solidFill>
                                            <a:schemeClr val="accent1">
                                              <a:lumMod val="50000"/>
                                            </a:schemeClr>
                                          </a:solidFill>
                                          <a:latin typeface="Cambria Math" panose="02040503050406030204" pitchFamily="18" charset="0"/>
                                        </a:rPr>
                                      </m:ctrlPr>
                                    </m:sSubPr>
                                    <m:e>
                                      <m:r>
                                        <a:rPr lang="en-US" sz="2000" i="1" kern="1200">
                                          <a:solidFill>
                                            <a:schemeClr val="accent1">
                                              <a:lumMod val="50000"/>
                                            </a:schemeClr>
                                          </a:solidFill>
                                          <a:latin typeface="Cambria Math" panose="02040503050406030204" pitchFamily="18" charset="0"/>
                                        </a:rPr>
                                        <m:t>𝑦</m:t>
                                      </m:r>
                                    </m:e>
                                    <m:sub>
                                      <m:r>
                                        <a:rPr lang="en-US" sz="2000" i="1" kern="1200">
                                          <a:solidFill>
                                            <a:schemeClr val="accent1">
                                              <a:lumMod val="50000"/>
                                            </a:schemeClr>
                                          </a:solidFill>
                                          <a:latin typeface="Cambria Math" panose="02040503050406030204" pitchFamily="18" charset="0"/>
                                        </a:rPr>
                                        <m:t>𝑖</m:t>
                                      </m:r>
                                    </m:sub>
                                  </m:sSub>
                                  <m:r>
                                    <a:rPr lang="en-US" sz="2000" i="1" kern="1200">
                                      <a:solidFill>
                                        <a:schemeClr val="accent1">
                                          <a:lumMod val="50000"/>
                                        </a:schemeClr>
                                      </a:solidFill>
                                      <a:latin typeface="Cambria Math" panose="02040503050406030204" pitchFamily="18" charset="0"/>
                                    </a:rPr>
                                    <m:t>−</m:t>
                                  </m:r>
                                  <m:sSub>
                                    <m:sSubPr>
                                      <m:ctrlPr>
                                        <a:rPr lang="en-US" sz="2000" i="1" kern="1200">
                                          <a:solidFill>
                                            <a:schemeClr val="accent1">
                                              <a:lumMod val="50000"/>
                                            </a:schemeClr>
                                          </a:solidFill>
                                          <a:latin typeface="Cambria Math" panose="02040503050406030204" pitchFamily="18" charset="0"/>
                                        </a:rPr>
                                      </m:ctrlPr>
                                    </m:sSubPr>
                                    <m:e>
                                      <m:r>
                                        <a:rPr lang="en-US" sz="2000" i="1" kern="1200">
                                          <a:solidFill>
                                            <a:schemeClr val="accent1">
                                              <a:lumMod val="50000"/>
                                            </a:schemeClr>
                                          </a:solidFill>
                                          <a:latin typeface="Cambria Math" panose="02040503050406030204" pitchFamily="18" charset="0"/>
                                        </a:rPr>
                                        <m:t>𝛽</m:t>
                                      </m:r>
                                    </m:e>
                                    <m:sub>
                                      <m:r>
                                        <a:rPr lang="en-US" sz="2000" i="1" kern="1200">
                                          <a:solidFill>
                                            <a:schemeClr val="accent1">
                                              <a:lumMod val="50000"/>
                                            </a:schemeClr>
                                          </a:solidFill>
                                          <a:latin typeface="Cambria Math" panose="02040503050406030204" pitchFamily="18" charset="0"/>
                                        </a:rPr>
                                        <m:t>0</m:t>
                                      </m:r>
                                    </m:sub>
                                  </m:sSub>
                                  <m:r>
                                    <a:rPr lang="en-US" sz="2000" i="1" kern="1200">
                                      <a:solidFill>
                                        <a:schemeClr val="accent1">
                                          <a:lumMod val="50000"/>
                                        </a:schemeClr>
                                      </a:solidFill>
                                      <a:latin typeface="Cambria Math" panose="02040503050406030204" pitchFamily="18" charset="0"/>
                                    </a:rPr>
                                    <m:t>−</m:t>
                                  </m:r>
                                  <m:nary>
                                    <m:naryPr>
                                      <m:chr m:val="∑"/>
                                      <m:ctrlPr>
                                        <a:rPr lang="en-US" sz="2000" i="1" kern="1200">
                                          <a:solidFill>
                                            <a:schemeClr val="accent1">
                                              <a:lumMod val="50000"/>
                                            </a:schemeClr>
                                          </a:solidFill>
                                          <a:latin typeface="Cambria Math" panose="02040503050406030204" pitchFamily="18" charset="0"/>
                                        </a:rPr>
                                      </m:ctrlPr>
                                    </m:naryPr>
                                    <m:sub>
                                      <m:r>
                                        <m:rPr>
                                          <m:brk m:alnAt="23"/>
                                        </m:rPr>
                                        <a:rPr lang="en-US" sz="2000" i="1" kern="1200">
                                          <a:solidFill>
                                            <a:schemeClr val="accent1">
                                              <a:lumMod val="50000"/>
                                            </a:schemeClr>
                                          </a:solidFill>
                                          <a:latin typeface="Cambria Math" panose="02040503050406030204" pitchFamily="18" charset="0"/>
                                        </a:rPr>
                                        <m:t>𝑗</m:t>
                                      </m:r>
                                      <m:r>
                                        <a:rPr lang="en-US" sz="2000" i="1" kern="1200">
                                          <a:solidFill>
                                            <a:schemeClr val="accent1">
                                              <a:lumMod val="50000"/>
                                            </a:schemeClr>
                                          </a:solidFill>
                                          <a:latin typeface="Cambria Math" panose="02040503050406030204" pitchFamily="18" charset="0"/>
                                        </a:rPr>
                                        <m:t>=1</m:t>
                                      </m:r>
                                    </m:sub>
                                    <m:sup>
                                      <m:r>
                                        <a:rPr lang="en-US" sz="2000" i="1" kern="1200">
                                          <a:solidFill>
                                            <a:schemeClr val="accent1">
                                              <a:lumMod val="50000"/>
                                            </a:schemeClr>
                                          </a:solidFill>
                                          <a:latin typeface="Cambria Math" panose="02040503050406030204" pitchFamily="18" charset="0"/>
                                        </a:rPr>
                                        <m:t>𝑝</m:t>
                                      </m:r>
                                    </m:sup>
                                    <m:e>
                                      <m:sSub>
                                        <m:sSubPr>
                                          <m:ctrlPr>
                                            <a:rPr lang="en-US" sz="2000" i="1" kern="1200">
                                              <a:solidFill>
                                                <a:schemeClr val="accent1">
                                                  <a:lumMod val="50000"/>
                                                </a:schemeClr>
                                              </a:solidFill>
                                              <a:latin typeface="Cambria Math" panose="02040503050406030204" pitchFamily="18" charset="0"/>
                                            </a:rPr>
                                          </m:ctrlPr>
                                        </m:sSubPr>
                                        <m:e>
                                          <m:r>
                                            <a:rPr lang="en-US" sz="2000" i="1" kern="1200">
                                              <a:solidFill>
                                                <a:schemeClr val="accent1">
                                                  <a:lumMod val="50000"/>
                                                </a:schemeClr>
                                              </a:solidFill>
                                              <a:latin typeface="Cambria Math" panose="02040503050406030204" pitchFamily="18" charset="0"/>
                                            </a:rPr>
                                            <m:t>𝑥</m:t>
                                          </m:r>
                                        </m:e>
                                        <m:sub>
                                          <m:r>
                                            <a:rPr lang="en-US" sz="2000" i="1" kern="1200">
                                              <a:solidFill>
                                                <a:schemeClr val="accent1">
                                                  <a:lumMod val="50000"/>
                                                </a:schemeClr>
                                              </a:solidFill>
                                              <a:latin typeface="Cambria Math" panose="02040503050406030204" pitchFamily="18" charset="0"/>
                                            </a:rPr>
                                            <m:t>𝑖𝑗</m:t>
                                          </m:r>
                                        </m:sub>
                                      </m:sSub>
                                      <m:sSub>
                                        <m:sSubPr>
                                          <m:ctrlPr>
                                            <a:rPr lang="en-US" sz="2000" i="1" kern="1200">
                                              <a:solidFill>
                                                <a:schemeClr val="accent1">
                                                  <a:lumMod val="50000"/>
                                                </a:schemeClr>
                                              </a:solidFill>
                                              <a:latin typeface="Cambria Math" panose="02040503050406030204" pitchFamily="18" charset="0"/>
                                            </a:rPr>
                                          </m:ctrlPr>
                                        </m:sSubPr>
                                        <m:e>
                                          <m:r>
                                            <a:rPr lang="en-US" sz="2000" i="1" kern="1200">
                                              <a:solidFill>
                                                <a:schemeClr val="accent1">
                                                  <a:lumMod val="50000"/>
                                                </a:schemeClr>
                                              </a:solidFill>
                                              <a:latin typeface="Cambria Math" panose="02040503050406030204" pitchFamily="18" charset="0"/>
                                            </a:rPr>
                                            <m:t>𝛽</m:t>
                                          </m:r>
                                        </m:e>
                                        <m:sub>
                                          <m:r>
                                            <a:rPr lang="en-US" sz="2000" i="1" kern="1200">
                                              <a:solidFill>
                                                <a:schemeClr val="accent1">
                                                  <a:lumMod val="50000"/>
                                                </a:schemeClr>
                                              </a:solidFill>
                                              <a:latin typeface="Cambria Math" panose="02040503050406030204" pitchFamily="18" charset="0"/>
                                            </a:rPr>
                                            <m:t>𝑗</m:t>
                                          </m:r>
                                        </m:sub>
                                      </m:sSub>
                                    </m:e>
                                  </m:nary>
                                </m:e>
                              </m:d>
                            </m:e>
                            <m:sup>
                              <m:r>
                                <a:rPr lang="en-US" sz="2000" i="1" kern="1200">
                                  <a:solidFill>
                                    <a:schemeClr val="accent1">
                                      <a:lumMod val="50000"/>
                                    </a:schemeClr>
                                  </a:solidFill>
                                  <a:latin typeface="Cambria Math" panose="02040503050406030204" pitchFamily="18" charset="0"/>
                                </a:rPr>
                                <m:t>2</m:t>
                              </m:r>
                            </m:sup>
                          </m:sSup>
                        </m:e>
                      </m:nary>
                      <m:r>
                        <a:rPr lang="en-US" sz="2000" b="0" i="1" kern="1200">
                          <a:latin typeface="Cambria Math" panose="02040503050406030204" pitchFamily="18" charset="0"/>
                        </a:rPr>
                        <m:t>+</m:t>
                      </m:r>
                      <m:r>
                        <a:rPr lang="en-US" sz="2000" b="0" i="1" kern="1200" smtClean="0">
                          <a:solidFill>
                            <a:srgbClr val="C00000"/>
                          </a:solidFill>
                          <a:latin typeface="Cambria Math" panose="02040503050406030204" pitchFamily="18" charset="0"/>
                        </a:rPr>
                        <m:t>𝜆</m:t>
                      </m:r>
                      <m:nary>
                        <m:naryPr>
                          <m:chr m:val="∑"/>
                          <m:limLoc m:val="subSup"/>
                          <m:ctrlPr>
                            <a:rPr lang="en-US" sz="2000" b="0" i="1" kern="1200">
                              <a:solidFill>
                                <a:srgbClr val="C00000"/>
                              </a:solidFill>
                              <a:latin typeface="Cambria Math" panose="02040503050406030204" pitchFamily="18" charset="0"/>
                            </a:rPr>
                          </m:ctrlPr>
                        </m:naryPr>
                        <m:sub>
                          <m:r>
                            <m:rPr>
                              <m:brk m:alnAt="25"/>
                            </m:rPr>
                            <a:rPr lang="en-US" sz="2000" b="0" i="1" kern="1200">
                              <a:solidFill>
                                <a:srgbClr val="C00000"/>
                              </a:solidFill>
                              <a:latin typeface="Cambria Math" panose="02040503050406030204" pitchFamily="18" charset="0"/>
                            </a:rPr>
                            <m:t>𝑗</m:t>
                          </m:r>
                          <m:r>
                            <a:rPr lang="en-US" sz="2000" b="0" i="1" kern="1200">
                              <a:solidFill>
                                <a:srgbClr val="C00000"/>
                              </a:solidFill>
                              <a:latin typeface="Cambria Math" panose="02040503050406030204" pitchFamily="18" charset="0"/>
                            </a:rPr>
                            <m:t>=1</m:t>
                          </m:r>
                        </m:sub>
                        <m:sup>
                          <m:r>
                            <a:rPr lang="en-US" sz="2000" b="0" i="1" kern="1200">
                              <a:solidFill>
                                <a:srgbClr val="C00000"/>
                              </a:solidFill>
                              <a:latin typeface="Cambria Math" panose="02040503050406030204" pitchFamily="18" charset="0"/>
                            </a:rPr>
                            <m:t>𝑝</m:t>
                          </m:r>
                        </m:sup>
                        <m:e>
                          <m:d>
                            <m:dPr>
                              <m:begChr m:val="|"/>
                              <m:endChr m:val="|"/>
                              <m:ctrlPr>
                                <a:rPr lang="en-US" sz="2000" b="0" i="1" kern="1200">
                                  <a:solidFill>
                                    <a:srgbClr val="C00000"/>
                                  </a:solidFill>
                                  <a:latin typeface="Cambria Math" panose="02040503050406030204" pitchFamily="18" charset="0"/>
                                </a:rPr>
                              </m:ctrlPr>
                            </m:dPr>
                            <m:e>
                              <m:sSub>
                                <m:sSubPr>
                                  <m:ctrlPr>
                                    <a:rPr lang="en-US" sz="2000" b="0" i="1" kern="1200">
                                      <a:solidFill>
                                        <a:srgbClr val="C00000"/>
                                      </a:solidFill>
                                      <a:latin typeface="Cambria Math" panose="02040503050406030204" pitchFamily="18" charset="0"/>
                                    </a:rPr>
                                  </m:ctrlPr>
                                </m:sSubPr>
                                <m:e>
                                  <m:r>
                                    <a:rPr lang="en-US" sz="2000" b="0" i="1" kern="1200">
                                      <a:solidFill>
                                        <a:srgbClr val="C00000"/>
                                      </a:solidFill>
                                      <a:latin typeface="Cambria Math" panose="02040503050406030204" pitchFamily="18" charset="0"/>
                                    </a:rPr>
                                    <m:t>𝛽</m:t>
                                  </m:r>
                                </m:e>
                                <m:sub>
                                  <m:r>
                                    <a:rPr lang="en-US" sz="2000" b="0" i="1" kern="1200">
                                      <a:solidFill>
                                        <a:srgbClr val="C00000"/>
                                      </a:solidFill>
                                      <a:latin typeface="Cambria Math" panose="02040503050406030204" pitchFamily="18" charset="0"/>
                                    </a:rPr>
                                    <m:t>𝑗</m:t>
                                  </m:r>
                                </m:sub>
                              </m:sSub>
                            </m:e>
                          </m:d>
                        </m:e>
                      </m:nary>
                    </m:e>
                  </m:d>
                </m:e>
              </m:func>
            </m:oMath>
          </a14:m>
          <a:endParaRPr lang="en-US" sz="2000" kern="1200" dirty="0"/>
        </a:p>
      </dsp:txBody>
      <dsp:txXfrm rot="-5400000">
        <a:off x="2369292" y="304673"/>
        <a:ext cx="4126522" cy="1581427"/>
      </dsp:txXfrm>
    </dsp:sp>
    <dsp:sp modelId="{33859BA6-4303-48A5-967B-116EAA186049}">
      <dsp:nvSpPr>
        <dsp:cNvPr id="0" name=""/>
        <dsp:cNvSpPr/>
      </dsp:nvSpPr>
      <dsp:spPr>
        <a:xfrm>
          <a:off x="0" y="54"/>
          <a:ext cx="2369292" cy="21906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kern="1200" dirty="0"/>
            <a:t>In  Least Absolute Selection and Shrinkage Operator (LASSO) regression, the least squares argument contains </a:t>
          </a:r>
          <a:r>
            <a:rPr lang="en-US" sz="1500" b="1" u="sng" kern="1200" dirty="0"/>
            <a:t>a penalty function</a:t>
          </a:r>
          <a:r>
            <a:rPr lang="en-US" sz="1500" kern="1200" dirty="0"/>
            <a:t> on the absolute value of the slope coefficients.</a:t>
          </a:r>
        </a:p>
      </dsp:txBody>
      <dsp:txXfrm>
        <a:off x="106939" y="106993"/>
        <a:ext cx="2155414" cy="1976786"/>
      </dsp:txXfrm>
    </dsp:sp>
    <dsp:sp modelId="{99EE2E49-2A7A-45F7-A766-E23D3AFAA6D4}">
      <dsp:nvSpPr>
        <dsp:cNvPr id="0" name=""/>
        <dsp:cNvSpPr/>
      </dsp:nvSpPr>
      <dsp:spPr>
        <a:xfrm rot="5400000">
          <a:off x="3599063" y="1289547"/>
          <a:ext cx="1752531" cy="421207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ote: hypothesis testing on </a:t>
          </a:r>
          <a:r>
            <a:rPr lang="el-GR" sz="2000" kern="1200" dirty="0"/>
            <a:t>β</a:t>
          </a:r>
          <a:r>
            <a:rPr lang="en-US" sz="2000" kern="1200" dirty="0"/>
            <a:t> is no longer valid </a:t>
          </a:r>
        </a:p>
        <a:p>
          <a:pPr marL="228600" lvl="1" indent="-228600" algn="l" defTabSz="889000">
            <a:lnSpc>
              <a:spcPct val="90000"/>
            </a:lnSpc>
            <a:spcBef>
              <a:spcPct val="0"/>
            </a:spcBef>
            <a:spcAft>
              <a:spcPct val="15000"/>
            </a:spcAft>
            <a:buChar char="•"/>
          </a:pPr>
          <a:r>
            <a:rPr lang="en-US" sz="2000" kern="1200"/>
            <a:t>Trades an increase in prediction bias for a decrease in prediction variance</a:t>
          </a:r>
        </a:p>
        <a:p>
          <a:pPr marL="228600" lvl="1" indent="-228600" algn="l" defTabSz="889000">
            <a:lnSpc>
              <a:spcPct val="90000"/>
            </a:lnSpc>
            <a:spcBef>
              <a:spcPct val="0"/>
            </a:spcBef>
            <a:spcAft>
              <a:spcPct val="15000"/>
            </a:spcAft>
            <a:buChar char="•"/>
          </a:pPr>
          <a:r>
            <a:rPr lang="en-US" sz="2000" kern="1200" dirty="0"/>
            <a:t>How far should we go?</a:t>
          </a:r>
        </a:p>
      </dsp:txBody>
      <dsp:txXfrm rot="-5400000">
        <a:off x="2369292" y="2604870"/>
        <a:ext cx="4126522" cy="1581427"/>
      </dsp:txXfrm>
    </dsp:sp>
    <dsp:sp modelId="{9E41091B-3A42-4F29-8E52-F2BEBC88D191}">
      <dsp:nvSpPr>
        <dsp:cNvPr id="0" name=""/>
        <dsp:cNvSpPr/>
      </dsp:nvSpPr>
      <dsp:spPr>
        <a:xfrm>
          <a:off x="0" y="2300252"/>
          <a:ext cx="2369292" cy="21906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kern="1200" dirty="0"/>
            <a:t>Increasing the </a:t>
          </a:r>
          <a:r>
            <a:rPr lang="en-US" sz="1500" b="1" u="sng" kern="1200" dirty="0"/>
            <a:t>penalty parameter</a:t>
          </a:r>
          <a:r>
            <a:rPr lang="en-US" sz="1500" kern="1200" dirty="0"/>
            <a:t> </a:t>
          </a:r>
          <a:r>
            <a:rPr lang="el-GR" sz="1500" kern="1200" dirty="0"/>
            <a:t>λ</a:t>
          </a:r>
          <a:r>
            <a:rPr lang="en-US" sz="1500" kern="1200" dirty="0"/>
            <a:t> causes slope estimates of covariates with low explanatory power to “shrink” toward zero and eventually exit the model.</a:t>
          </a:r>
        </a:p>
      </dsp:txBody>
      <dsp:txXfrm>
        <a:off x="106939" y="2407191"/>
        <a:ext cx="2155414" cy="19767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75433-4C8A-46A2-B64B-3F65AD578ED1}">
      <dsp:nvSpPr>
        <dsp:cNvPr id="0" name=""/>
        <dsp:cNvSpPr/>
      </dsp:nvSpPr>
      <dsp:spPr>
        <a:xfrm>
          <a:off x="3232" y="401662"/>
          <a:ext cx="2156252" cy="134724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LASSO actually performed a little worse than linear regression!</a:t>
          </a:r>
        </a:p>
      </dsp:txBody>
      <dsp:txXfrm>
        <a:off x="42691" y="441121"/>
        <a:ext cx="2077334" cy="1268322"/>
      </dsp:txXfrm>
    </dsp:sp>
    <dsp:sp modelId="{C481357B-29E2-409E-9E08-C5FB6F92452F}">
      <dsp:nvSpPr>
        <dsp:cNvPr id="0" name=""/>
        <dsp:cNvSpPr/>
      </dsp:nvSpPr>
      <dsp:spPr>
        <a:xfrm>
          <a:off x="3232" y="1895203"/>
          <a:ext cx="2170102" cy="96929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Why?</a:t>
          </a:r>
        </a:p>
      </dsp:txBody>
      <dsp:txXfrm>
        <a:off x="31622" y="1923593"/>
        <a:ext cx="2113322" cy="912518"/>
      </dsp:txXfrm>
    </dsp:sp>
    <dsp:sp modelId="{E1163164-DA68-4E80-BCF3-DA1A6AC2B7EA}">
      <dsp:nvSpPr>
        <dsp:cNvPr id="0" name=""/>
        <dsp:cNvSpPr/>
      </dsp:nvSpPr>
      <dsp:spPr>
        <a:xfrm rot="18795757">
          <a:off x="1994215" y="1945137"/>
          <a:ext cx="1138507" cy="40346"/>
        </a:xfrm>
        <a:custGeom>
          <a:avLst/>
          <a:gdLst/>
          <a:ahLst/>
          <a:cxnLst/>
          <a:rect l="0" t="0" r="0" b="0"/>
          <a:pathLst>
            <a:path>
              <a:moveTo>
                <a:pt x="0" y="20173"/>
              </a:moveTo>
              <a:lnTo>
                <a:pt x="1138507" y="201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35006" y="1936848"/>
        <a:ext cx="56925" cy="56925"/>
      </dsp:txXfrm>
    </dsp:sp>
    <dsp:sp modelId="{BD5EEB72-972B-4766-B3E8-7B05E87CF03F}">
      <dsp:nvSpPr>
        <dsp:cNvPr id="0" name=""/>
        <dsp:cNvSpPr/>
      </dsp:nvSpPr>
      <dsp:spPr>
        <a:xfrm>
          <a:off x="2953603" y="810030"/>
          <a:ext cx="1950671" cy="14814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nly about half of the predictors were false targets</a:t>
          </a:r>
        </a:p>
      </dsp:txBody>
      <dsp:txXfrm>
        <a:off x="2996994" y="853421"/>
        <a:ext cx="1863889" cy="1394694"/>
      </dsp:txXfrm>
    </dsp:sp>
    <dsp:sp modelId="{16F91C44-261E-482F-8D24-8A226AD04A4F}">
      <dsp:nvSpPr>
        <dsp:cNvPr id="0" name=""/>
        <dsp:cNvSpPr/>
      </dsp:nvSpPr>
      <dsp:spPr>
        <a:xfrm rot="2772489">
          <a:off x="1999724" y="2766624"/>
          <a:ext cx="1127489" cy="40346"/>
        </a:xfrm>
        <a:custGeom>
          <a:avLst/>
          <a:gdLst/>
          <a:ahLst/>
          <a:cxnLst/>
          <a:rect l="0" t="0" r="0" b="0"/>
          <a:pathLst>
            <a:path>
              <a:moveTo>
                <a:pt x="0" y="20173"/>
              </a:moveTo>
              <a:lnTo>
                <a:pt x="1127489" y="201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35281" y="2758609"/>
        <a:ext cx="56374" cy="56374"/>
      </dsp:txXfrm>
    </dsp:sp>
    <dsp:sp modelId="{2B683DE4-A8FB-48FE-9728-C8BED778EB85}">
      <dsp:nvSpPr>
        <dsp:cNvPr id="0" name=""/>
        <dsp:cNvSpPr/>
      </dsp:nvSpPr>
      <dsp:spPr>
        <a:xfrm>
          <a:off x="2953603" y="2437807"/>
          <a:ext cx="1950671" cy="15118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latively large sample size means linear regression predictions are  fairly stable</a:t>
          </a:r>
        </a:p>
      </dsp:txBody>
      <dsp:txXfrm>
        <a:off x="2997884" y="2482088"/>
        <a:ext cx="1862109" cy="142330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55772C-1829-47C9-9496-AB7E04A6B977}">
      <dsp:nvSpPr>
        <dsp:cNvPr id="0" name=""/>
        <dsp:cNvSpPr/>
      </dsp:nvSpPr>
      <dsp:spPr>
        <a:xfrm>
          <a:off x="6969" y="1748064"/>
          <a:ext cx="2544750" cy="12723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he single “optimal” tree didn’t do any better (in fact significantly worse) than linear regression</a:t>
          </a:r>
        </a:p>
      </dsp:txBody>
      <dsp:txXfrm>
        <a:off x="44236" y="1785331"/>
        <a:ext cx="2470216" cy="1197841"/>
      </dsp:txXfrm>
    </dsp:sp>
    <dsp:sp modelId="{FEE5B3D6-58AD-4C28-9162-9ADEFED59D6F}">
      <dsp:nvSpPr>
        <dsp:cNvPr id="0" name=""/>
        <dsp:cNvSpPr/>
      </dsp:nvSpPr>
      <dsp:spPr>
        <a:xfrm rot="18875987">
          <a:off x="2335825" y="1844127"/>
          <a:ext cx="1449690" cy="48029"/>
        </a:xfrm>
        <a:custGeom>
          <a:avLst/>
          <a:gdLst/>
          <a:ahLst/>
          <a:cxnLst/>
          <a:rect l="0" t="0" r="0" b="0"/>
          <a:pathLst>
            <a:path>
              <a:moveTo>
                <a:pt x="0" y="24014"/>
              </a:moveTo>
              <a:lnTo>
                <a:pt x="1449690" y="240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3024428" y="1831899"/>
        <a:ext cx="72484" cy="72484"/>
      </dsp:txXfrm>
    </dsp:sp>
    <dsp:sp modelId="{CE9C2DE0-8DCE-4F07-95C6-E3284FAA7DA7}">
      <dsp:nvSpPr>
        <dsp:cNvPr id="0" name=""/>
        <dsp:cNvSpPr/>
      </dsp:nvSpPr>
      <dsp:spPr>
        <a:xfrm>
          <a:off x="3569621" y="715843"/>
          <a:ext cx="2544750" cy="12723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What if a small subset of observations overly influenced tree construction?</a:t>
          </a:r>
        </a:p>
      </dsp:txBody>
      <dsp:txXfrm>
        <a:off x="3606888" y="753110"/>
        <a:ext cx="2470216" cy="1197841"/>
      </dsp:txXfrm>
    </dsp:sp>
    <dsp:sp modelId="{7BFF4F75-2661-45F3-B622-02E377DECB11}">
      <dsp:nvSpPr>
        <dsp:cNvPr id="0" name=""/>
        <dsp:cNvSpPr/>
      </dsp:nvSpPr>
      <dsp:spPr>
        <a:xfrm rot="2142401">
          <a:off x="2433896" y="2726045"/>
          <a:ext cx="1253548" cy="48029"/>
        </a:xfrm>
        <a:custGeom>
          <a:avLst/>
          <a:gdLst/>
          <a:ahLst/>
          <a:cxnLst/>
          <a:rect l="0" t="0" r="0" b="0"/>
          <a:pathLst>
            <a:path>
              <a:moveTo>
                <a:pt x="0" y="24014"/>
              </a:moveTo>
              <a:lnTo>
                <a:pt x="1253548" y="240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3029332" y="2718721"/>
        <a:ext cx="62677" cy="62677"/>
      </dsp:txXfrm>
    </dsp:sp>
    <dsp:sp modelId="{8488A4F2-B2C3-486D-80FC-C6DF212B3251}">
      <dsp:nvSpPr>
        <dsp:cNvPr id="0" name=""/>
        <dsp:cNvSpPr/>
      </dsp:nvSpPr>
      <dsp:spPr>
        <a:xfrm>
          <a:off x="3569621" y="2179075"/>
          <a:ext cx="2544750" cy="18735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What if we had chosen a different variable to split the tree differently at the top? We might have gotten a radically different tree…or lots of different trees…</a:t>
          </a:r>
        </a:p>
      </dsp:txBody>
      <dsp:txXfrm>
        <a:off x="3624496" y="2233950"/>
        <a:ext cx="2435000" cy="17638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5C747E-948D-4F20-99F2-CAE36C78DD7F}">
      <dsp:nvSpPr>
        <dsp:cNvPr id="0" name=""/>
        <dsp:cNvSpPr/>
      </dsp:nvSpPr>
      <dsp:spPr>
        <a:xfrm rot="5400000">
          <a:off x="3176098" y="-1053670"/>
          <a:ext cx="1126057" cy="351917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We can develop an “ensemble” of models, each of which does an OK job of predicting a subset of responses or considering a particular part of the functional relationship.</a:t>
          </a:r>
        </a:p>
        <a:p>
          <a:pPr marL="57150" lvl="1" indent="-57150" algn="l" defTabSz="488950">
            <a:lnSpc>
              <a:spcPct val="90000"/>
            </a:lnSpc>
            <a:spcBef>
              <a:spcPct val="0"/>
            </a:spcBef>
            <a:spcAft>
              <a:spcPct val="15000"/>
            </a:spcAft>
            <a:buChar char="•"/>
          </a:pPr>
          <a:r>
            <a:rPr lang="en-US" sz="1100" kern="1200" dirty="0"/>
            <a:t>Ironically, we don’t want strong models because they will be highly correlated.</a:t>
          </a:r>
        </a:p>
      </dsp:txBody>
      <dsp:txXfrm rot="-5400000">
        <a:off x="1979538" y="197860"/>
        <a:ext cx="3464208" cy="1016117"/>
      </dsp:txXfrm>
    </dsp:sp>
    <dsp:sp modelId="{4E3D1848-4D96-4FF9-859F-DAAC340D4A59}">
      <dsp:nvSpPr>
        <dsp:cNvPr id="0" name=""/>
        <dsp:cNvSpPr/>
      </dsp:nvSpPr>
      <dsp:spPr>
        <a:xfrm>
          <a:off x="0" y="2132"/>
          <a:ext cx="1979537" cy="1407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t>Sometimes the consensus of a lot of weak models can result in a better prediction than a single strong model.</a:t>
          </a:r>
        </a:p>
      </dsp:txBody>
      <dsp:txXfrm>
        <a:off x="68712" y="70844"/>
        <a:ext cx="1842113" cy="1270147"/>
      </dsp:txXfrm>
    </dsp:sp>
    <dsp:sp modelId="{37B36511-9447-4D92-B132-287527722C00}">
      <dsp:nvSpPr>
        <dsp:cNvPr id="0" name=""/>
        <dsp:cNvSpPr/>
      </dsp:nvSpPr>
      <dsp:spPr>
        <a:xfrm rot="5400000">
          <a:off x="3176098" y="424279"/>
          <a:ext cx="1126057" cy="351917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a:t>Age, sex, region, family size, race, ethnicity, marital status, education, BMI, income, poverty status, risk attitude,  insurance coverage, usual source of care </a:t>
          </a:r>
        </a:p>
      </dsp:txBody>
      <dsp:txXfrm rot="-5400000">
        <a:off x="1979538" y="1675809"/>
        <a:ext cx="3464208" cy="1016117"/>
      </dsp:txXfrm>
    </dsp:sp>
    <dsp:sp modelId="{DC13B914-0A2C-4FA6-83BB-B0614863F8AE}">
      <dsp:nvSpPr>
        <dsp:cNvPr id="0" name=""/>
        <dsp:cNvSpPr/>
      </dsp:nvSpPr>
      <dsp:spPr>
        <a:xfrm>
          <a:off x="0" y="1480083"/>
          <a:ext cx="1979537" cy="1407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t>Consider the tree at right, predicting the SF-12 Physical Component Score as a function of covariates, including:</a:t>
          </a:r>
        </a:p>
      </dsp:txBody>
      <dsp:txXfrm>
        <a:off x="68712" y="1548795"/>
        <a:ext cx="1842113" cy="1270147"/>
      </dsp:txXfrm>
    </dsp:sp>
    <dsp:sp modelId="{AC456028-C0BC-469C-8C78-B47172B0182F}">
      <dsp:nvSpPr>
        <dsp:cNvPr id="0" name=""/>
        <dsp:cNvSpPr/>
      </dsp:nvSpPr>
      <dsp:spPr>
        <a:xfrm rot="5400000">
          <a:off x="3176098" y="1902230"/>
          <a:ext cx="1126057" cy="351917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a:t>Maybe a subset of observations had really strong relationships with AGE, and a future sample might miss them?</a:t>
          </a:r>
        </a:p>
        <a:p>
          <a:pPr marL="57150" lvl="1" indent="-57150" algn="l" defTabSz="488950">
            <a:lnSpc>
              <a:spcPct val="90000"/>
            </a:lnSpc>
            <a:spcBef>
              <a:spcPct val="0"/>
            </a:spcBef>
            <a:spcAft>
              <a:spcPct val="15000"/>
            </a:spcAft>
            <a:buChar char="•"/>
          </a:pPr>
          <a:r>
            <a:rPr lang="en-US" sz="1100" kern="1200"/>
            <a:t>Maybe AGE is so strong that it “masks” other relationships down the tree that may work well for a subset of observations</a:t>
          </a:r>
        </a:p>
      </dsp:txBody>
      <dsp:txXfrm rot="-5400000">
        <a:off x="1979538" y="3153760"/>
        <a:ext cx="3464208" cy="1016117"/>
      </dsp:txXfrm>
    </dsp:sp>
    <dsp:sp modelId="{D5A142FD-7425-4E48-8290-D5289D5CBA91}">
      <dsp:nvSpPr>
        <dsp:cNvPr id="0" name=""/>
        <dsp:cNvSpPr/>
      </dsp:nvSpPr>
      <dsp:spPr>
        <a:xfrm>
          <a:off x="0" y="2958033"/>
          <a:ext cx="1979537" cy="1407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a:t>What would the tree have looked like if we didn’t split on AGE?</a:t>
          </a:r>
        </a:p>
      </dsp:txBody>
      <dsp:txXfrm>
        <a:off x="68712" y="3026745"/>
        <a:ext cx="1842113" cy="127014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2F22-44C1-4FF1-9D9B-A5078ADBA41C}">
      <dsp:nvSpPr>
        <dsp:cNvPr id="0" name=""/>
        <dsp:cNvSpPr/>
      </dsp:nvSpPr>
      <dsp:spPr>
        <a:xfrm>
          <a:off x="0" y="396138"/>
          <a:ext cx="3014848" cy="87994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Extreme Gradient Boosting (</a:t>
          </a:r>
          <a:r>
            <a:rPr lang="en-US" sz="2400" kern="1200" dirty="0" err="1"/>
            <a:t>Xgboost</a:t>
          </a:r>
          <a:r>
            <a:rPr lang="en-US" sz="2400" kern="1200" dirty="0"/>
            <a:t>)</a:t>
          </a:r>
        </a:p>
      </dsp:txBody>
      <dsp:txXfrm>
        <a:off x="0" y="396138"/>
        <a:ext cx="3014848" cy="879941"/>
      </dsp:txXfrm>
    </dsp:sp>
    <dsp:sp modelId="{E18F32E7-B5D5-4EF8-A297-2D5D766A37D8}">
      <dsp:nvSpPr>
        <dsp:cNvPr id="0" name=""/>
        <dsp:cNvSpPr/>
      </dsp:nvSpPr>
      <dsp:spPr>
        <a:xfrm>
          <a:off x="0" y="1276079"/>
          <a:ext cx="3014848" cy="26791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None/>
          </a:pPr>
          <a:r>
            <a:rPr lang="en-US" sz="1600" kern="1200" dirty="0"/>
            <a:t>Several tunable parameters, including:</a:t>
          </a:r>
        </a:p>
        <a:p>
          <a:pPr marL="342900" lvl="2" indent="-171450" algn="l" defTabSz="711200">
            <a:lnSpc>
              <a:spcPct val="90000"/>
            </a:lnSpc>
            <a:spcBef>
              <a:spcPct val="0"/>
            </a:spcBef>
            <a:spcAft>
              <a:spcPct val="15000"/>
            </a:spcAft>
            <a:buChar char="•"/>
          </a:pPr>
          <a:r>
            <a:rPr lang="en-US" sz="1600" kern="1200" dirty="0"/>
            <a:t>eta: learning rate (shrinkage)</a:t>
          </a:r>
        </a:p>
        <a:p>
          <a:pPr marL="342900" lvl="2" indent="-171450" algn="l" defTabSz="711200">
            <a:lnSpc>
              <a:spcPct val="90000"/>
            </a:lnSpc>
            <a:spcBef>
              <a:spcPct val="0"/>
            </a:spcBef>
            <a:spcAft>
              <a:spcPct val="15000"/>
            </a:spcAft>
            <a:buChar char="•"/>
          </a:pPr>
          <a:r>
            <a:rPr lang="en-US" sz="1600" kern="1200" dirty="0"/>
            <a:t>Maximum tree depth</a:t>
          </a:r>
        </a:p>
        <a:p>
          <a:pPr marL="342900" lvl="2" indent="-171450" algn="l" defTabSz="711200">
            <a:lnSpc>
              <a:spcPct val="90000"/>
            </a:lnSpc>
            <a:spcBef>
              <a:spcPct val="0"/>
            </a:spcBef>
            <a:spcAft>
              <a:spcPct val="15000"/>
            </a:spcAft>
            <a:buChar char="•"/>
          </a:pPr>
          <a:r>
            <a:rPr lang="en-US" sz="1600" kern="1200" dirty="0"/>
            <a:t>Minimum size needed to split</a:t>
          </a:r>
        </a:p>
        <a:p>
          <a:pPr marL="342900" lvl="2" indent="-171450" algn="l" defTabSz="711200">
            <a:lnSpc>
              <a:spcPct val="90000"/>
            </a:lnSpc>
            <a:spcBef>
              <a:spcPct val="0"/>
            </a:spcBef>
            <a:spcAft>
              <a:spcPct val="15000"/>
            </a:spcAft>
            <a:buChar char="•"/>
          </a:pPr>
          <a:r>
            <a:rPr lang="en-US" sz="1600" kern="1200" dirty="0"/>
            <a:t>Degree of random feature selection</a:t>
          </a:r>
        </a:p>
        <a:p>
          <a:pPr marL="342900" lvl="2" indent="-171450" algn="l" defTabSz="711200">
            <a:lnSpc>
              <a:spcPct val="90000"/>
            </a:lnSpc>
            <a:spcBef>
              <a:spcPct val="0"/>
            </a:spcBef>
            <a:spcAft>
              <a:spcPct val="15000"/>
            </a:spcAft>
            <a:buChar char="•"/>
          </a:pPr>
          <a:r>
            <a:rPr lang="en-US" sz="1600" kern="1200" dirty="0"/>
            <a:t>Degree of random case selection</a:t>
          </a:r>
        </a:p>
        <a:p>
          <a:pPr marL="342900" lvl="2" indent="-171450" algn="l" defTabSz="711200">
            <a:lnSpc>
              <a:spcPct val="90000"/>
            </a:lnSpc>
            <a:spcBef>
              <a:spcPct val="0"/>
            </a:spcBef>
            <a:spcAft>
              <a:spcPct val="15000"/>
            </a:spcAft>
            <a:buChar char="•"/>
          </a:pPr>
          <a:r>
            <a:rPr lang="en-US" sz="1600" kern="1200" dirty="0"/>
            <a:t>Number of trees constructed</a:t>
          </a:r>
        </a:p>
      </dsp:txBody>
      <dsp:txXfrm>
        <a:off x="0" y="1276079"/>
        <a:ext cx="3014848" cy="2679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1430A7-37EF-4E6A-AD2A-88747D24F866}">
      <dsp:nvSpPr>
        <dsp:cNvPr id="0" name=""/>
        <dsp:cNvSpPr/>
      </dsp:nvSpPr>
      <dsp:spPr>
        <a:xfrm>
          <a:off x="3663" y="1126727"/>
          <a:ext cx="2043461" cy="174377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ross-validation and ensemble construction helps explore predictor importance:</a:t>
          </a:r>
        </a:p>
      </dsp:txBody>
      <dsp:txXfrm>
        <a:off x="54736" y="1177800"/>
        <a:ext cx="1941315" cy="1641631"/>
      </dsp:txXfrm>
    </dsp:sp>
    <dsp:sp modelId="{29A255B9-1294-473E-A40B-30A5FCB7AAEE}">
      <dsp:nvSpPr>
        <dsp:cNvPr id="0" name=""/>
        <dsp:cNvSpPr/>
      </dsp:nvSpPr>
      <dsp:spPr>
        <a:xfrm rot="18482369">
          <a:off x="1792575" y="1453251"/>
          <a:ext cx="1326482" cy="46009"/>
        </a:xfrm>
        <a:custGeom>
          <a:avLst/>
          <a:gdLst/>
          <a:ahLst/>
          <a:cxnLst/>
          <a:rect l="0" t="0" r="0" b="0"/>
          <a:pathLst>
            <a:path>
              <a:moveTo>
                <a:pt x="0" y="23004"/>
              </a:moveTo>
              <a:lnTo>
                <a:pt x="1326482" y="230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22654" y="1443094"/>
        <a:ext cx="66324" cy="66324"/>
      </dsp:txXfrm>
    </dsp:sp>
    <dsp:sp modelId="{824ABEEE-9810-450E-9C30-94FB6B36D71E}">
      <dsp:nvSpPr>
        <dsp:cNvPr id="0" name=""/>
        <dsp:cNvSpPr/>
      </dsp:nvSpPr>
      <dsp:spPr>
        <a:xfrm>
          <a:off x="2864509" y="40188"/>
          <a:ext cx="2043461" cy="182741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Which features show up most often in the trees (and higher up in them)?</a:t>
          </a:r>
        </a:p>
      </dsp:txBody>
      <dsp:txXfrm>
        <a:off x="2918032" y="93711"/>
        <a:ext cx="1936415" cy="1720370"/>
      </dsp:txXfrm>
    </dsp:sp>
    <dsp:sp modelId="{64B16CD5-4958-4D29-9BBE-1B2D6868F5F8}">
      <dsp:nvSpPr>
        <dsp:cNvPr id="0" name=""/>
        <dsp:cNvSpPr/>
      </dsp:nvSpPr>
      <dsp:spPr>
        <a:xfrm rot="3027908">
          <a:off x="1813771" y="2470780"/>
          <a:ext cx="1284090" cy="46009"/>
        </a:xfrm>
        <a:custGeom>
          <a:avLst/>
          <a:gdLst/>
          <a:ahLst/>
          <a:cxnLst/>
          <a:rect l="0" t="0" r="0" b="0"/>
          <a:pathLst>
            <a:path>
              <a:moveTo>
                <a:pt x="0" y="23004"/>
              </a:moveTo>
              <a:lnTo>
                <a:pt x="1284090" y="2300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23714" y="2461683"/>
        <a:ext cx="64204" cy="64204"/>
      </dsp:txXfrm>
    </dsp:sp>
    <dsp:sp modelId="{8112BC13-F0A6-496D-B1BA-B0A34D39B102}">
      <dsp:nvSpPr>
        <dsp:cNvPr id="0" name=""/>
        <dsp:cNvSpPr/>
      </dsp:nvSpPr>
      <dsp:spPr>
        <a:xfrm>
          <a:off x="2864509" y="2020864"/>
          <a:ext cx="2043461" cy="193617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Which features, if removed from consideration, result in substantially worse prediction?</a:t>
          </a:r>
        </a:p>
      </dsp:txBody>
      <dsp:txXfrm>
        <a:off x="2921218" y="2077573"/>
        <a:ext cx="1930043" cy="182276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67F34A-D745-4509-9539-DBA20E5A647F}">
      <dsp:nvSpPr>
        <dsp:cNvPr id="0" name=""/>
        <dsp:cNvSpPr/>
      </dsp:nvSpPr>
      <dsp:spPr>
        <a:xfrm>
          <a:off x="3953" y="635517"/>
          <a:ext cx="2377306" cy="850008"/>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Good old linear regression does a pretty good job!</a:t>
          </a:r>
        </a:p>
      </dsp:txBody>
      <dsp:txXfrm>
        <a:off x="3953" y="635517"/>
        <a:ext cx="2377306" cy="850008"/>
      </dsp:txXfrm>
    </dsp:sp>
    <dsp:sp modelId="{84E45724-3706-4839-99C7-82D8E18BA389}">
      <dsp:nvSpPr>
        <dsp:cNvPr id="0" name=""/>
        <dsp:cNvSpPr/>
      </dsp:nvSpPr>
      <dsp:spPr>
        <a:xfrm>
          <a:off x="3953" y="1485526"/>
          <a:ext cx="2377306" cy="195993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Even though it misses non-linear relationships and interactions</a:t>
          </a:r>
        </a:p>
        <a:p>
          <a:pPr marL="171450" lvl="1" indent="-171450" algn="l" defTabSz="755650">
            <a:lnSpc>
              <a:spcPct val="90000"/>
            </a:lnSpc>
            <a:spcBef>
              <a:spcPct val="0"/>
            </a:spcBef>
            <a:spcAft>
              <a:spcPct val="15000"/>
            </a:spcAft>
            <a:buChar char="•"/>
          </a:pPr>
          <a:r>
            <a:rPr lang="en-US" sz="1700" kern="1200" dirty="0"/>
            <a:t>Very good “first-order” functional approximation</a:t>
          </a:r>
        </a:p>
      </dsp:txBody>
      <dsp:txXfrm>
        <a:off x="3953" y="1485526"/>
        <a:ext cx="2377306" cy="1959930"/>
      </dsp:txXfrm>
    </dsp:sp>
    <dsp:sp modelId="{2106988D-2047-4AC5-9761-F788A757157A}">
      <dsp:nvSpPr>
        <dsp:cNvPr id="0" name=""/>
        <dsp:cNvSpPr/>
      </dsp:nvSpPr>
      <dsp:spPr>
        <a:xfrm>
          <a:off x="2714082" y="635517"/>
          <a:ext cx="2377306" cy="850008"/>
        </a:xfrm>
        <a:prstGeom prst="rect">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Single tree methods can be quite limited in predictive performance</a:t>
          </a:r>
        </a:p>
      </dsp:txBody>
      <dsp:txXfrm>
        <a:off x="2714082" y="635517"/>
        <a:ext cx="2377306" cy="850008"/>
      </dsp:txXfrm>
    </dsp:sp>
    <dsp:sp modelId="{8F54DFB3-292B-4315-BFC7-62B6DABB3D60}">
      <dsp:nvSpPr>
        <dsp:cNvPr id="0" name=""/>
        <dsp:cNvSpPr/>
      </dsp:nvSpPr>
      <dsp:spPr>
        <a:xfrm>
          <a:off x="2714082" y="1485526"/>
          <a:ext cx="2377306" cy="1959930"/>
        </a:xfrm>
        <a:prstGeom prst="rect">
          <a:avLst/>
        </a:prstGeom>
        <a:solidFill>
          <a:schemeClr val="accent2">
            <a:tint val="40000"/>
            <a:alpha val="90000"/>
            <a:hueOff val="-283075"/>
            <a:satOff val="-25115"/>
            <a:lumOff val="-256"/>
            <a:alphaOff val="0"/>
          </a:schemeClr>
        </a:solidFill>
        <a:ln w="12700" cap="flat" cmpd="sng" algn="ctr">
          <a:solidFill>
            <a:schemeClr val="accent2">
              <a:tint val="40000"/>
              <a:alpha val="90000"/>
              <a:hueOff val="-283075"/>
              <a:satOff val="-25115"/>
              <a:lumOff val="-25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Can provide insight into most important predictors</a:t>
          </a:r>
        </a:p>
        <a:p>
          <a:pPr marL="171450" lvl="1" indent="-171450" algn="l" defTabSz="755650">
            <a:lnSpc>
              <a:spcPct val="90000"/>
            </a:lnSpc>
            <a:spcBef>
              <a:spcPct val="0"/>
            </a:spcBef>
            <a:spcAft>
              <a:spcPct val="15000"/>
            </a:spcAft>
            <a:buChar char="•"/>
          </a:pPr>
          <a:r>
            <a:rPr lang="en-US" sz="1700" kern="1200"/>
            <a:t>“Greediness” of the algorithm means it misses a lot</a:t>
          </a:r>
        </a:p>
      </dsp:txBody>
      <dsp:txXfrm>
        <a:off x="2714082" y="1485526"/>
        <a:ext cx="2377306" cy="1959930"/>
      </dsp:txXfrm>
    </dsp:sp>
    <dsp:sp modelId="{F9267D3C-D528-4AAB-BC76-832F72D99633}">
      <dsp:nvSpPr>
        <dsp:cNvPr id="0" name=""/>
        <dsp:cNvSpPr/>
      </dsp:nvSpPr>
      <dsp:spPr>
        <a:xfrm>
          <a:off x="5424211" y="635517"/>
          <a:ext cx="2377306" cy="850008"/>
        </a:xfrm>
        <a:prstGeom prst="rect">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Ensembles of weak learners can offer significant improvement</a:t>
          </a:r>
        </a:p>
      </dsp:txBody>
      <dsp:txXfrm>
        <a:off x="5424211" y="635517"/>
        <a:ext cx="2377306" cy="850008"/>
      </dsp:txXfrm>
    </dsp:sp>
    <dsp:sp modelId="{E3C23748-2A5F-49D2-8155-3D52CADBCF62}">
      <dsp:nvSpPr>
        <dsp:cNvPr id="0" name=""/>
        <dsp:cNvSpPr/>
      </dsp:nvSpPr>
      <dsp:spPr>
        <a:xfrm>
          <a:off x="5424211" y="1485526"/>
          <a:ext cx="2377306" cy="1959930"/>
        </a:xfrm>
        <a:prstGeom prst="rect">
          <a:avLst/>
        </a:prstGeom>
        <a:solidFill>
          <a:schemeClr val="accent2">
            <a:tint val="40000"/>
            <a:alpha val="90000"/>
            <a:hueOff val="-566151"/>
            <a:satOff val="-50231"/>
            <a:lumOff val="-513"/>
            <a:alphaOff val="0"/>
          </a:schemeClr>
        </a:solidFill>
        <a:ln w="12700" cap="flat" cmpd="sng" algn="ctr">
          <a:solidFill>
            <a:schemeClr val="accent2">
              <a:tint val="40000"/>
              <a:alpha val="90000"/>
              <a:hueOff val="-566151"/>
              <a:satOff val="-50231"/>
              <a:lumOff val="-51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Randomization can help uncover relationships masked by other variables</a:t>
          </a:r>
        </a:p>
        <a:p>
          <a:pPr marL="171450" lvl="1" indent="-171450" algn="l" defTabSz="755650">
            <a:lnSpc>
              <a:spcPct val="90000"/>
            </a:lnSpc>
            <a:spcBef>
              <a:spcPct val="0"/>
            </a:spcBef>
            <a:spcAft>
              <a:spcPct val="15000"/>
            </a:spcAft>
            <a:buChar char="•"/>
          </a:pPr>
          <a:r>
            <a:rPr lang="en-US" sz="1700" kern="1200"/>
            <a:t>Random Forest substantially better than single tree</a:t>
          </a:r>
        </a:p>
      </dsp:txBody>
      <dsp:txXfrm>
        <a:off x="5424211" y="1485526"/>
        <a:ext cx="2377306" cy="1959930"/>
      </dsp:txXfrm>
    </dsp:sp>
    <dsp:sp modelId="{E46AC972-0FE6-4E29-BCFA-B0A2A2FBC6FD}">
      <dsp:nvSpPr>
        <dsp:cNvPr id="0" name=""/>
        <dsp:cNvSpPr/>
      </dsp:nvSpPr>
      <dsp:spPr>
        <a:xfrm>
          <a:off x="8134340" y="635517"/>
          <a:ext cx="2377306" cy="850008"/>
        </a:xfrm>
        <a:prstGeom prst="rect">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Boosting can provide substantially improved predictive performance</a:t>
          </a:r>
        </a:p>
      </dsp:txBody>
      <dsp:txXfrm>
        <a:off x="8134340" y="635517"/>
        <a:ext cx="2377306" cy="850008"/>
      </dsp:txXfrm>
    </dsp:sp>
    <dsp:sp modelId="{2E2B1F90-4C0F-4EF2-A755-C1D538418E82}">
      <dsp:nvSpPr>
        <dsp:cNvPr id="0" name=""/>
        <dsp:cNvSpPr/>
      </dsp:nvSpPr>
      <dsp:spPr>
        <a:xfrm>
          <a:off x="8134340" y="1485526"/>
          <a:ext cx="2377306" cy="1959930"/>
        </a:xfrm>
        <a:prstGeom prst="rect">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Learning from errors is a powerful concept</a:t>
          </a:r>
        </a:p>
        <a:p>
          <a:pPr marL="171450" lvl="1" indent="-171450" algn="l" defTabSz="755650">
            <a:lnSpc>
              <a:spcPct val="90000"/>
            </a:lnSpc>
            <a:spcBef>
              <a:spcPct val="0"/>
            </a:spcBef>
            <a:spcAft>
              <a:spcPct val="15000"/>
            </a:spcAft>
            <a:buChar char="•"/>
          </a:pPr>
          <a:r>
            <a:rPr lang="en-US" sz="1700" kern="1200"/>
            <a:t>But it still requires work – and isn’t a “magic bullet”</a:t>
          </a:r>
        </a:p>
      </dsp:txBody>
      <dsp:txXfrm>
        <a:off x="8134340" y="1485526"/>
        <a:ext cx="2377306" cy="19599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5E2E55C-C2A3-45D7-85ED-A8981FFD5510}" type="datetimeFigureOut">
              <a:rPr lang="en-US" smtClean="0"/>
              <a:t>7/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8918773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E2E55C-C2A3-45D7-85ED-A8981FFD5510}" type="datetimeFigureOut">
              <a:rPr lang="en-US" smtClean="0"/>
              <a:t>7/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424310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E2E55C-C2A3-45D7-85ED-A8981FFD5510}" type="datetimeFigureOut">
              <a:rPr lang="en-US" smtClean="0"/>
              <a:t>7/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175076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E2E55C-C2A3-45D7-85ED-A8981FFD5510}" type="datetimeFigureOut">
              <a:rPr lang="en-US" smtClean="0"/>
              <a:t>7/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3366440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E2E55C-C2A3-45D7-85ED-A8981FFD5510}" type="datetimeFigureOut">
              <a:rPr lang="en-US" smtClean="0"/>
              <a:t>7/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702817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5E2E55C-C2A3-45D7-85ED-A8981FFD5510}" type="datetimeFigureOut">
              <a:rPr lang="en-US" smtClean="0"/>
              <a:t>7/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552289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5E2E55C-C2A3-45D7-85ED-A8981FFD5510}" type="datetimeFigureOut">
              <a:rPr lang="en-US" smtClean="0"/>
              <a:t>7/2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84908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E2E55C-C2A3-45D7-85ED-A8981FFD5510}" type="datetimeFigureOut">
              <a:rPr lang="en-US" smtClean="0"/>
              <a:t>7/2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1534165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E2E55C-C2A3-45D7-85ED-A8981FFD5510}" type="datetimeFigureOut">
              <a:rPr lang="en-US" smtClean="0"/>
              <a:t>7/2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1119882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E2E55C-C2A3-45D7-85ED-A8981FFD5510}" type="datetimeFigureOut">
              <a:rPr lang="en-US" smtClean="0"/>
              <a:t>7/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1927534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E2E55C-C2A3-45D7-85ED-A8981FFD5510}" type="datetimeFigureOut">
              <a:rPr lang="en-US" smtClean="0"/>
              <a:t>7/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55D33D-1B0C-4281-9425-D469796C8BB4}" type="slidenum">
              <a:rPr lang="en-US" smtClean="0"/>
              <a:t>‹#›</a:t>
            </a:fld>
            <a:endParaRPr lang="en-US"/>
          </a:p>
        </p:txBody>
      </p:sp>
    </p:spTree>
    <p:extLst>
      <p:ext uri="{BB962C8B-B14F-4D97-AF65-F5344CB8AC3E}">
        <p14:creationId xmlns:p14="http://schemas.microsoft.com/office/powerpoint/2010/main" val="2240398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E2E55C-C2A3-45D7-85ED-A8981FFD5510}" type="datetimeFigureOut">
              <a:rPr lang="en-US" smtClean="0"/>
              <a:t>7/28/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55D33D-1B0C-4281-9425-D469796C8BB4}" type="slidenum">
              <a:rPr lang="en-US" smtClean="0"/>
              <a:t>‹#›</a:t>
            </a:fld>
            <a:endParaRPr lang="en-US"/>
          </a:p>
        </p:txBody>
      </p:sp>
    </p:spTree>
    <p:extLst>
      <p:ext uri="{BB962C8B-B14F-4D97-AF65-F5344CB8AC3E}">
        <p14:creationId xmlns:p14="http://schemas.microsoft.com/office/powerpoint/2010/main" val="170410001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3.xml"/><Relationship Id="rId3" Type="http://schemas.openxmlformats.org/officeDocument/2006/relationships/slideLayout" Target="../slideLayouts/slideLayout6.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11" Type="http://schemas.microsoft.com/office/2007/relationships/diagramDrawing" Target="../diagrams/drawing3.xml"/><Relationship Id="rId5" Type="http://schemas.openxmlformats.org/officeDocument/2006/relationships/oleObject" Target="../embeddings/oleObject1.bin"/><Relationship Id="rId15" Type="http://schemas.openxmlformats.org/officeDocument/2006/relationships/diagramColors" Target="../diagrams/colors3.xml"/><Relationship Id="rId10" Type="http://schemas.openxmlformats.org/officeDocument/2006/relationships/diagramColors" Target="../diagrams/colors3.xml"/><Relationship Id="rId4" Type="http://schemas.openxmlformats.org/officeDocument/2006/relationships/image" Target="../media/image11.png"/><Relationship Id="rId9" Type="http://schemas.openxmlformats.org/officeDocument/2006/relationships/diagramQuickStyle" Target="../diagrams/quickStyle3.xml"/><Relationship Id="rId1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4.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hyperlink" Target="https://crh.dev/TreeGenerator/index.html" TargetMode="External"/><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9.emf"/><Relationship Id="rId2" Type="http://schemas.openxmlformats.org/officeDocument/2006/relationships/image" Target="../media/image140.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diagramData" Target="../diagrams/data6.xml"/><Relationship Id="rId7" Type="http://schemas.microsoft.com/office/2007/relationships/diagramDrawing" Target="../diagrams/drawing5.xml"/><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31.png"/><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image" Target="../media/image47.png"/><Relationship Id="rId7" Type="http://schemas.openxmlformats.org/officeDocument/2006/relationships/diagramLayout" Target="../diagrams/layout7.xml"/><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diagramData" Target="../diagrams/data8.xml"/><Relationship Id="rId5" Type="http://schemas.openxmlformats.org/officeDocument/2006/relationships/image" Target="../media/image49.png"/><Relationship Id="rId10" Type="http://schemas.microsoft.com/office/2007/relationships/diagramDrawing" Target="../diagrams/drawing7.xml"/><Relationship Id="rId4" Type="http://schemas.openxmlformats.org/officeDocument/2006/relationships/image" Target="../media/image48.png"/><Relationship Id="rId9" Type="http://schemas.openxmlformats.org/officeDocument/2006/relationships/diagramColors" Target="../diagrams/colors7.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8.xml"/><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pixabay.com/photos/tarot-cards-mystic-prediction-3604473/"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2.xml"/><Relationship Id="rId7" Type="http://schemas.openxmlformats.org/officeDocument/2006/relationships/image" Target="../media/image5.pn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Networking">
            <a:extLst>
              <a:ext uri="{FF2B5EF4-FFF2-40B4-BE49-F238E27FC236}">
                <a16:creationId xmlns:a16="http://schemas.microsoft.com/office/drawing/2014/main" id="{77761E73-6F01-4D27-88A7-5DA6BA4CD5F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278" r="9289"/>
          <a:stretch/>
        </p:blipFill>
        <p:spPr bwMode="auto">
          <a:xfrm>
            <a:off x="4654297" y="10"/>
            <a:ext cx="7537704"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A89AD25-02B8-4097-A417-97AB73809803}"/>
              </a:ext>
            </a:extLst>
          </p:cNvPr>
          <p:cNvSpPr>
            <a:spLocks noGrp="1"/>
          </p:cNvSpPr>
          <p:nvPr>
            <p:ph type="ctrTitle"/>
          </p:nvPr>
        </p:nvSpPr>
        <p:spPr>
          <a:xfrm>
            <a:off x="437663" y="366545"/>
            <a:ext cx="3590828" cy="2613138"/>
          </a:xfrm>
          <a:noFill/>
        </p:spPr>
        <p:txBody>
          <a:bodyPr>
            <a:normAutofit/>
          </a:bodyPr>
          <a:lstStyle/>
          <a:p>
            <a:pPr algn="l"/>
            <a:r>
              <a:rPr lang="en-US" sz="3300" dirty="0"/>
              <a:t>Principles of Machine Learning for Prediction</a:t>
            </a:r>
          </a:p>
        </p:txBody>
      </p:sp>
      <p:sp>
        <p:nvSpPr>
          <p:cNvPr id="3" name="Subtitle 2">
            <a:extLst>
              <a:ext uri="{FF2B5EF4-FFF2-40B4-BE49-F238E27FC236}">
                <a16:creationId xmlns:a16="http://schemas.microsoft.com/office/drawing/2014/main" id="{DB948927-60CE-4E87-8A9B-58408B4858A7}"/>
              </a:ext>
            </a:extLst>
          </p:cNvPr>
          <p:cNvSpPr>
            <a:spLocks noGrp="1"/>
          </p:cNvSpPr>
          <p:nvPr>
            <p:ph type="subTitle" idx="1"/>
          </p:nvPr>
        </p:nvSpPr>
        <p:spPr>
          <a:xfrm>
            <a:off x="437663" y="3564662"/>
            <a:ext cx="3377184" cy="2110790"/>
          </a:xfrm>
          <a:noFill/>
        </p:spPr>
        <p:txBody>
          <a:bodyPr>
            <a:normAutofit fontScale="92500" lnSpcReduction="20000"/>
          </a:bodyPr>
          <a:lstStyle/>
          <a:p>
            <a:pPr algn="l"/>
            <a:r>
              <a:rPr lang="en-US" sz="2000" dirty="0">
                <a:solidFill>
                  <a:srgbClr val="A4AAAD"/>
                </a:solidFill>
              </a:rPr>
              <a:t>Dave Vanness, PhD</a:t>
            </a:r>
          </a:p>
          <a:p>
            <a:pPr algn="l"/>
            <a:r>
              <a:rPr lang="en-US" sz="2000" dirty="0">
                <a:solidFill>
                  <a:srgbClr val="A4AAAD"/>
                </a:solidFill>
              </a:rPr>
              <a:t>Professor of Health Policy and Administration</a:t>
            </a:r>
          </a:p>
          <a:p>
            <a:pPr algn="l"/>
            <a:r>
              <a:rPr lang="en-US" sz="2000" dirty="0">
                <a:solidFill>
                  <a:srgbClr val="A4AAAD"/>
                </a:solidFill>
              </a:rPr>
              <a:t>The Pennsylvania State University</a:t>
            </a:r>
          </a:p>
          <a:p>
            <a:pPr algn="l"/>
            <a:endParaRPr lang="en-US" sz="2000" dirty="0"/>
          </a:p>
          <a:p>
            <a:pPr algn="l"/>
            <a:r>
              <a:rPr lang="en-US" sz="2000" dirty="0">
                <a:solidFill>
                  <a:srgbClr val="6FAADC"/>
                </a:solidFill>
              </a:rPr>
              <a:t>July 31, 2019</a:t>
            </a:r>
          </a:p>
          <a:p>
            <a:pPr algn="l"/>
            <a:endParaRPr lang="en-US" sz="2000" dirty="0">
              <a:solidFill>
                <a:srgbClr val="6FAADC"/>
              </a:solidFill>
            </a:endParaRPr>
          </a:p>
        </p:txBody>
      </p:sp>
    </p:spTree>
    <p:extLst>
      <p:ext uri="{BB962C8B-B14F-4D97-AF65-F5344CB8AC3E}">
        <p14:creationId xmlns:p14="http://schemas.microsoft.com/office/powerpoint/2010/main" val="659980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542194-C879-4E46-958C-924AABAE7DDF}"/>
              </a:ext>
            </a:extLst>
          </p:cNvPr>
          <p:cNvPicPr>
            <a:picLocks noChangeAspect="1"/>
          </p:cNvPicPr>
          <p:nvPr/>
        </p:nvPicPr>
        <p:blipFill>
          <a:blip r:embed="rId4"/>
          <a:stretch>
            <a:fillRect/>
          </a:stretch>
        </p:blipFill>
        <p:spPr>
          <a:xfrm>
            <a:off x="7344261" y="2017126"/>
            <a:ext cx="4348975" cy="3786897"/>
          </a:xfrm>
          <a:prstGeom prst="rect">
            <a:avLst/>
          </a:prstGeom>
        </p:spPr>
      </p:pic>
      <p:graphicFrame>
        <p:nvGraphicFramePr>
          <p:cNvPr id="15" name="Object 14"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5" imgW="216" imgH="216" progId="TCLayout.ActiveDocument.1">
                  <p:embed/>
                </p:oleObj>
              </mc:Choice>
              <mc:Fallback>
                <p:oleObj name="think-cell Slide" r:id="rId5" imgW="216" imgH="216" progId="TCLayout.ActiveDocument.1">
                  <p:embed/>
                  <p:pic>
                    <p:nvPicPr>
                      <p:cNvPr id="15" name="Object 14"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Penalization: the LASSO</a:t>
            </a:r>
          </a:p>
        </p:txBody>
      </p:sp>
      <p:grpSp>
        <p:nvGrpSpPr>
          <p:cNvPr id="8" name="Group 7"/>
          <p:cNvGrpSpPr/>
          <p:nvPr/>
        </p:nvGrpSpPr>
        <p:grpSpPr>
          <a:xfrm>
            <a:off x="7101068" y="1473586"/>
            <a:ext cx="755088" cy="4362581"/>
            <a:chOff x="-1023551" y="-1096913"/>
            <a:chExt cx="1939173" cy="8127586"/>
          </a:xfrm>
        </p:grpSpPr>
        <p:sp>
          <p:nvSpPr>
            <p:cNvPr id="12" name="TextBox 11"/>
            <p:cNvSpPr txBox="1"/>
            <p:nvPr/>
          </p:nvSpPr>
          <p:spPr>
            <a:xfrm>
              <a:off x="-1023551" y="-1096913"/>
              <a:ext cx="1814244" cy="745414"/>
            </a:xfrm>
            <a:prstGeom prst="rect">
              <a:avLst/>
            </a:prstGeom>
            <a:noFill/>
          </p:spPr>
          <p:txBody>
            <a:bodyPr wrap="square" rtlCol="0">
              <a:spAutoFit/>
            </a:bodyPr>
            <a:lstStyle/>
            <a:p>
              <a:pPr algn="r"/>
              <a:r>
                <a:rPr lang="en-US" sz="1000" dirty="0">
                  <a:solidFill>
                    <a:schemeClr val="accent1"/>
                  </a:solidFill>
                </a:rPr>
                <a:t>MLE Estimate</a:t>
              </a:r>
            </a:p>
          </p:txBody>
        </p:sp>
        <p:cxnSp>
          <p:nvCxnSpPr>
            <p:cNvPr id="10" name="Straight Connector 9"/>
            <p:cNvCxnSpPr>
              <a:cxnSpLocks/>
            </p:cNvCxnSpPr>
            <p:nvPr/>
          </p:nvCxnSpPr>
          <p:spPr>
            <a:xfrm>
              <a:off x="861853" y="-724206"/>
              <a:ext cx="53769" cy="775487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5" name="TextBox 4"/>
          <p:cNvSpPr txBox="1"/>
          <p:nvPr/>
        </p:nvSpPr>
        <p:spPr>
          <a:xfrm>
            <a:off x="10861918" y="5911960"/>
            <a:ext cx="831318" cy="461665"/>
          </a:xfrm>
          <a:prstGeom prst="rect">
            <a:avLst/>
          </a:prstGeom>
          <a:noFill/>
        </p:spPr>
        <p:txBody>
          <a:bodyPr wrap="square" rtlCol="0">
            <a:spAutoFit/>
          </a:bodyPr>
          <a:lstStyle/>
          <a:p>
            <a:r>
              <a:rPr lang="en-US" sz="1200" b="1" dirty="0">
                <a:solidFill>
                  <a:srgbClr val="A4AAAD"/>
                </a:solidFill>
                <a:latin typeface="+mj-lt"/>
              </a:rPr>
              <a:t>R package:</a:t>
            </a:r>
          </a:p>
          <a:p>
            <a:r>
              <a:rPr lang="en-US" sz="1200" b="1" dirty="0" err="1">
                <a:solidFill>
                  <a:srgbClr val="A4AAAD"/>
                </a:solidFill>
                <a:latin typeface="+mj-lt"/>
                <a:cs typeface="Courier New" panose="02070309020205020404" pitchFamily="49" charset="0"/>
              </a:rPr>
              <a:t>glmnet</a:t>
            </a:r>
            <a:endParaRPr lang="en-US" sz="1200" b="1" dirty="0">
              <a:solidFill>
                <a:srgbClr val="A4AAAD"/>
              </a:solidFill>
              <a:latin typeface="+mj-lt"/>
              <a:cs typeface="Courier New" panose="02070309020205020404" pitchFamily="49" charset="0"/>
            </a:endParaRPr>
          </a:p>
        </p:txBody>
      </p:sp>
      <mc:AlternateContent xmlns:mc="http://schemas.openxmlformats.org/markup-compatibility/2006" xmlns:a14="http://schemas.microsoft.com/office/drawing/2010/main">
        <mc:Choice Requires="a14">
          <p:graphicFrame>
            <p:nvGraphicFramePr>
              <p:cNvPr id="14" name="Diagram 13">
                <a:extLst>
                  <a:ext uri="{FF2B5EF4-FFF2-40B4-BE49-F238E27FC236}">
                    <a16:creationId xmlns:a16="http://schemas.microsoft.com/office/drawing/2014/main" id="{A8949306-903D-46AF-A8C9-9A1AAD34EE25}"/>
                  </a:ext>
                </a:extLst>
              </p:cNvPr>
              <p:cNvGraphicFramePr/>
              <p:nvPr>
                <p:extLst>
                  <p:ext uri="{D42A27DB-BD31-4B8C-83A1-F6EECF244321}">
                    <p14:modId xmlns:p14="http://schemas.microsoft.com/office/powerpoint/2010/main" val="3279090393"/>
                  </p:ext>
                </p:extLst>
              </p:nvPr>
            </p:nvGraphicFramePr>
            <p:xfrm>
              <a:off x="498763" y="1695277"/>
              <a:ext cx="6581367" cy="44909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mc:Choice>
        <mc:Fallback xmlns="">
          <p:graphicFrame>
            <p:nvGraphicFramePr>
              <p:cNvPr id="14" name="Diagram 13">
                <a:extLst>
                  <a:ext uri="{FF2B5EF4-FFF2-40B4-BE49-F238E27FC236}">
                    <a16:creationId xmlns:a16="http://schemas.microsoft.com/office/drawing/2014/main" id="{A8949306-903D-46AF-A8C9-9A1AAD34EE25}"/>
                  </a:ext>
                </a:extLst>
              </p:cNvPr>
              <p:cNvGraphicFramePr/>
              <p:nvPr>
                <p:extLst>
                  <p:ext uri="{D42A27DB-BD31-4B8C-83A1-F6EECF244321}">
                    <p14:modId xmlns:p14="http://schemas.microsoft.com/office/powerpoint/2010/main" val="3279090393"/>
                  </p:ext>
                </p:extLst>
              </p:nvPr>
            </p:nvGraphicFramePr>
            <p:xfrm>
              <a:off x="498763" y="1695277"/>
              <a:ext cx="6581367" cy="44909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mc:Fallback>
      </mc:AlternateContent>
      <p:sp>
        <p:nvSpPr>
          <p:cNvPr id="16" name="TextBox 15">
            <a:extLst>
              <a:ext uri="{FF2B5EF4-FFF2-40B4-BE49-F238E27FC236}">
                <a16:creationId xmlns:a16="http://schemas.microsoft.com/office/drawing/2014/main" id="{4286B242-ECD4-44BD-979A-51F18DF76127}"/>
              </a:ext>
            </a:extLst>
          </p:cNvPr>
          <p:cNvSpPr txBox="1"/>
          <p:nvPr/>
        </p:nvSpPr>
        <p:spPr>
          <a:xfrm>
            <a:off x="8376565" y="1464786"/>
            <a:ext cx="2456826" cy="369332"/>
          </a:xfrm>
          <a:prstGeom prst="rect">
            <a:avLst/>
          </a:prstGeom>
          <a:noFill/>
        </p:spPr>
        <p:txBody>
          <a:bodyPr wrap="none" rtlCol="0">
            <a:spAutoFit/>
          </a:bodyPr>
          <a:lstStyle/>
          <a:p>
            <a:r>
              <a:rPr lang="en-US" dirty="0"/>
              <a:t>Simulated Data Example</a:t>
            </a:r>
          </a:p>
        </p:txBody>
      </p:sp>
    </p:spTree>
    <p:extLst>
      <p:ext uri="{BB962C8B-B14F-4D97-AF65-F5344CB8AC3E}">
        <p14:creationId xmlns:p14="http://schemas.microsoft.com/office/powerpoint/2010/main" val="2793140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8240" y="142333"/>
            <a:ext cx="10515600" cy="1325563"/>
          </a:xfrm>
        </p:spPr>
        <p:txBody>
          <a:bodyPr/>
          <a:lstStyle/>
          <a:p>
            <a:r>
              <a:rPr lang="en-US" dirty="0"/>
              <a:t>Tuning Models through Cross Validation</a:t>
            </a:r>
          </a:p>
        </p:txBody>
      </p:sp>
      <p:sp>
        <p:nvSpPr>
          <p:cNvPr id="61" name="Content Placeholder 2"/>
          <p:cNvSpPr txBox="1">
            <a:spLocks/>
          </p:cNvSpPr>
          <p:nvPr/>
        </p:nvSpPr>
        <p:spPr>
          <a:xfrm>
            <a:off x="654270" y="1467775"/>
            <a:ext cx="4634194" cy="2392565"/>
          </a:xfrm>
          <a:prstGeom prst="rect">
            <a:avLst/>
          </a:prstGeom>
          <a:ln w="12700">
            <a:noFill/>
          </a:ln>
        </p:spPr>
        <p:txBody>
          <a:bodyPr>
            <a:noAutofit/>
          </a:bodyPr>
          <a:lstStyle>
            <a:defPPr>
              <a:defRPr lang="en-US"/>
            </a:defPPr>
            <a:lvl1pPr marL="173736" indent="-173736" eaLnBrk="1" hangingPunct="1">
              <a:spcBef>
                <a:spcPts val="1200"/>
              </a:spcBef>
              <a:spcAft>
                <a:spcPts val="1200"/>
              </a:spcAft>
              <a:buClr>
                <a:schemeClr val="tx2"/>
              </a:buClr>
              <a:buFont typeface="Arial" charset="0"/>
              <a:buChar char="•"/>
              <a:defRPr sz="1600">
                <a:solidFill>
                  <a:srgbClr val="414343"/>
                </a:solidFill>
                <a:latin typeface="+mn-lt"/>
              </a:defRPr>
            </a:lvl1pPr>
            <a:lvl2pPr marL="230188" lvl="1" indent="0" eaLnBrk="1" hangingPunct="1">
              <a:spcBef>
                <a:spcPts val="1200"/>
              </a:spcBef>
              <a:buFont typeface="Lucida Grande" charset="0"/>
              <a:buNone/>
              <a:defRPr sz="1400" i="1">
                <a:solidFill>
                  <a:srgbClr val="414343"/>
                </a:solidFill>
                <a:latin typeface="Cambria Math" panose="02040503050406030204" pitchFamily="18" charset="0"/>
              </a:defRPr>
            </a:lvl2pPr>
            <a:lvl3pPr marL="679450" indent="-222250" eaLnBrk="1" hangingPunct="1">
              <a:spcBef>
                <a:spcPct val="20000"/>
              </a:spcBef>
              <a:buFont typeface="Lucida Grande" charset="0"/>
              <a:buChar char="-"/>
              <a:defRPr sz="1600">
                <a:solidFill>
                  <a:srgbClr val="414343"/>
                </a:solidFill>
                <a:latin typeface="+mn-lt"/>
              </a:defRPr>
            </a:lvl3pPr>
            <a:lvl4pPr marL="914400" indent="-234950" eaLnBrk="1" hangingPunct="1">
              <a:spcBef>
                <a:spcPct val="20000"/>
              </a:spcBef>
              <a:buFont typeface="Arial" charset="0"/>
              <a:buChar char="»"/>
              <a:defRPr sz="1600">
                <a:solidFill>
                  <a:srgbClr val="414343"/>
                </a:solidFill>
                <a:latin typeface="+mn-lt"/>
              </a:defRPr>
            </a:lvl4pPr>
            <a:lvl5pPr marL="1144588" indent="-222250" eaLnBrk="1" hangingPunct="1">
              <a:spcBef>
                <a:spcPct val="20000"/>
              </a:spcBef>
              <a:buFont typeface="Arial" charset="0"/>
              <a:buChar char="•"/>
              <a:defRPr sz="1600">
                <a:solidFill>
                  <a:srgbClr val="414343"/>
                </a:solidFill>
                <a:latin typeface="+mn-lt"/>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a:spcAft>
                <a:spcPts val="0"/>
              </a:spcAft>
            </a:pPr>
            <a:r>
              <a:rPr lang="en-US" sz="1800" dirty="0">
                <a:solidFill>
                  <a:schemeClr val="tx1">
                    <a:lumMod val="95000"/>
                  </a:schemeClr>
                </a:solidFill>
                <a:latin typeface="+mj-lt"/>
              </a:rPr>
              <a:t>Complexity penalties like </a:t>
            </a:r>
            <a:r>
              <a:rPr lang="el-GR" sz="1800" dirty="0">
                <a:solidFill>
                  <a:schemeClr val="tx1">
                    <a:lumMod val="95000"/>
                  </a:schemeClr>
                </a:solidFill>
                <a:latin typeface="+mj-lt"/>
              </a:rPr>
              <a:t>λ</a:t>
            </a:r>
            <a:r>
              <a:rPr lang="en-US" sz="1800" dirty="0">
                <a:solidFill>
                  <a:schemeClr val="tx1">
                    <a:lumMod val="95000"/>
                  </a:schemeClr>
                </a:solidFill>
                <a:latin typeface="+mj-lt"/>
              </a:rPr>
              <a:t> can be “tuned” to balance tradeoff between complexity vs. parsimony, bias vs. variance, etc.</a:t>
            </a:r>
          </a:p>
          <a:p>
            <a:pPr>
              <a:spcAft>
                <a:spcPts val="0"/>
              </a:spcAft>
            </a:pPr>
            <a:r>
              <a:rPr lang="en-US" sz="1800" dirty="0">
                <a:solidFill>
                  <a:schemeClr val="tx1">
                    <a:lumMod val="95000"/>
                  </a:schemeClr>
                </a:solidFill>
                <a:latin typeface="+mj-lt"/>
              </a:rPr>
              <a:t>N-fold cross-validation illustrates this tradeoff by creating a sample analogue to the iron law of prediction reserving part of the dataset as a test set</a:t>
            </a:r>
          </a:p>
        </p:txBody>
      </p:sp>
      <p:sp>
        <p:nvSpPr>
          <p:cNvPr id="62" name="Content Placeholder 3"/>
          <p:cNvSpPr txBox="1">
            <a:spLocks/>
          </p:cNvSpPr>
          <p:nvPr/>
        </p:nvSpPr>
        <p:spPr>
          <a:xfrm>
            <a:off x="7011775" y="1550560"/>
            <a:ext cx="3339769" cy="486460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a:noAutofit/>
          </a:bodyPr>
          <a:lstStyle>
            <a:lvl1pPr marL="230188" indent="-230188" algn="l" rtl="0" eaLnBrk="1" fontAlgn="base" hangingPunct="1">
              <a:spcBef>
                <a:spcPct val="20000"/>
              </a:spcBef>
              <a:spcAft>
                <a:spcPct val="0"/>
              </a:spcAft>
              <a:buFont typeface="Arial" charset="0"/>
              <a:buChar char="•"/>
              <a:defRPr kern="1200">
                <a:solidFill>
                  <a:schemeClr val="dk1"/>
                </a:solidFill>
                <a:latin typeface="+mn-lt"/>
                <a:ea typeface="+mn-ea"/>
                <a:cs typeface="+mn-cs"/>
              </a:defRPr>
            </a:lvl1pPr>
            <a:lvl2pPr marL="457200" indent="-234950" algn="l" rtl="0" eaLnBrk="1" fontAlgn="base" hangingPunct="1">
              <a:spcBef>
                <a:spcPct val="20000"/>
              </a:spcBef>
              <a:spcAft>
                <a:spcPct val="0"/>
              </a:spcAft>
              <a:buFont typeface="Lucida Grande" charset="0"/>
              <a:buChar char="&gt;"/>
              <a:defRPr sz="1600" kern="1200">
                <a:solidFill>
                  <a:schemeClr val="dk1"/>
                </a:solidFill>
                <a:latin typeface="+mn-lt"/>
                <a:ea typeface="+mn-ea"/>
                <a:cs typeface="+mn-cs"/>
              </a:defRPr>
            </a:lvl2pPr>
            <a:lvl3pPr marL="679450" indent="-222250" algn="l" rtl="0" eaLnBrk="1" fontAlgn="base" hangingPunct="1">
              <a:spcBef>
                <a:spcPct val="20000"/>
              </a:spcBef>
              <a:spcAft>
                <a:spcPct val="0"/>
              </a:spcAft>
              <a:buFont typeface="Lucida Grande" charset="0"/>
              <a:buChar char="-"/>
              <a:defRPr sz="1600" kern="1200">
                <a:solidFill>
                  <a:schemeClr val="dk1"/>
                </a:solidFill>
                <a:latin typeface="+mn-lt"/>
                <a:ea typeface="+mn-ea"/>
                <a:cs typeface="+mn-cs"/>
              </a:defRPr>
            </a:lvl3pPr>
            <a:lvl4pPr marL="914400" indent="-234950" algn="l" rtl="0" eaLnBrk="1" fontAlgn="base" hangingPunct="1">
              <a:spcBef>
                <a:spcPct val="20000"/>
              </a:spcBef>
              <a:spcAft>
                <a:spcPct val="0"/>
              </a:spcAft>
              <a:buFont typeface="Arial" charset="0"/>
              <a:buChar char="»"/>
              <a:defRPr sz="1600" kern="1200">
                <a:solidFill>
                  <a:schemeClr val="dk1"/>
                </a:solidFill>
                <a:latin typeface="+mn-lt"/>
                <a:ea typeface="+mn-ea"/>
                <a:cs typeface="+mn-cs"/>
              </a:defRPr>
            </a:lvl4pPr>
            <a:lvl5pPr marL="1144588" indent="-222250" algn="l" rtl="0" eaLnBrk="1" fontAlgn="base" hangingPunct="1">
              <a:spcBef>
                <a:spcPct val="20000"/>
              </a:spcBef>
              <a:spcAft>
                <a:spcPct val="0"/>
              </a:spcAft>
              <a:buFont typeface="Arial" charset="0"/>
              <a:buChar char="•"/>
              <a:defRPr sz="16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buNone/>
            </a:pPr>
            <a:r>
              <a:rPr lang="en-US" sz="1200" b="1" u="sng" dirty="0">
                <a:solidFill>
                  <a:schemeClr val="tx2"/>
                </a:solidFill>
                <a:latin typeface="+mj-lt"/>
              </a:rPr>
              <a:t>N-fold Cross Validation</a:t>
            </a:r>
            <a:r>
              <a:rPr lang="en-US" sz="1200" b="1" dirty="0">
                <a:solidFill>
                  <a:schemeClr val="tx2"/>
                </a:solidFill>
                <a:latin typeface="+mj-lt"/>
              </a:rPr>
              <a:t>:</a:t>
            </a:r>
          </a:p>
          <a:p>
            <a:pPr marL="0" indent="0">
              <a:buNone/>
            </a:pPr>
            <a:endParaRPr lang="en-US" sz="1200" b="1" dirty="0">
              <a:solidFill>
                <a:schemeClr val="tx2"/>
              </a:solidFill>
              <a:latin typeface="+mj-lt"/>
            </a:endParaRPr>
          </a:p>
          <a:p>
            <a:pPr marL="210312" indent="-210312">
              <a:spcBef>
                <a:spcPts val="600"/>
              </a:spcBef>
              <a:buFont typeface="+mj-lt"/>
              <a:buAutoNum type="arabicPeriod"/>
            </a:pPr>
            <a:r>
              <a:rPr lang="en-US" sz="1200" dirty="0">
                <a:solidFill>
                  <a:schemeClr val="tx2"/>
                </a:solidFill>
                <a:latin typeface="+mj-lt"/>
              </a:rPr>
              <a:t>Start with penalties/constraints set to give the most parsimonious model</a:t>
            </a:r>
          </a:p>
          <a:p>
            <a:pPr marL="210312" indent="-210312">
              <a:spcBef>
                <a:spcPts val="600"/>
              </a:spcBef>
              <a:buFont typeface="+mj-lt"/>
              <a:buAutoNum type="arabicPeriod"/>
            </a:pPr>
            <a:r>
              <a:rPr lang="en-US" sz="1200" dirty="0">
                <a:solidFill>
                  <a:schemeClr val="tx2"/>
                </a:solidFill>
                <a:latin typeface="+mj-lt"/>
              </a:rPr>
              <a:t>Designate 1/Nth of the sample as a test set and the remaining (N-1)/</a:t>
            </a:r>
            <a:r>
              <a:rPr lang="en-US" sz="1200" dirty="0" err="1">
                <a:solidFill>
                  <a:schemeClr val="tx2"/>
                </a:solidFill>
                <a:latin typeface="+mj-lt"/>
              </a:rPr>
              <a:t>Nths</a:t>
            </a:r>
            <a:r>
              <a:rPr lang="en-US" sz="1200" dirty="0">
                <a:solidFill>
                  <a:schemeClr val="tx2"/>
                </a:solidFill>
                <a:latin typeface="+mj-lt"/>
              </a:rPr>
              <a:t> as the training set</a:t>
            </a:r>
          </a:p>
          <a:p>
            <a:pPr marL="210312" indent="-210312">
              <a:spcBef>
                <a:spcPts val="600"/>
              </a:spcBef>
              <a:buFont typeface="+mj-lt"/>
              <a:buAutoNum type="arabicPeriod"/>
            </a:pPr>
            <a:r>
              <a:rPr lang="en-US" sz="1200" dirty="0">
                <a:solidFill>
                  <a:schemeClr val="tx2"/>
                </a:solidFill>
                <a:latin typeface="+mj-lt"/>
              </a:rPr>
              <a:t>Estimate the model on the training set and calculate mean-squared prediction error on the test set</a:t>
            </a:r>
          </a:p>
          <a:p>
            <a:pPr marL="210312" indent="-210312">
              <a:spcBef>
                <a:spcPts val="600"/>
              </a:spcBef>
              <a:buFont typeface="+mj-lt"/>
              <a:buAutoNum type="arabicPeriod"/>
            </a:pPr>
            <a:r>
              <a:rPr lang="en-US" sz="1200" dirty="0">
                <a:solidFill>
                  <a:schemeClr val="tx2"/>
                </a:solidFill>
                <a:latin typeface="+mj-lt"/>
              </a:rPr>
              <a:t>Repeat steps 2-3 to generate N complete “folds” and average to create the “cross-validation mean-square error” (</a:t>
            </a:r>
            <a:r>
              <a:rPr lang="en-US" sz="1200" dirty="0" err="1">
                <a:solidFill>
                  <a:schemeClr val="tx2"/>
                </a:solidFill>
                <a:latin typeface="+mj-lt"/>
              </a:rPr>
              <a:t>Xerror</a:t>
            </a:r>
            <a:r>
              <a:rPr lang="en-US" sz="1200" dirty="0">
                <a:solidFill>
                  <a:schemeClr val="tx2"/>
                </a:solidFill>
                <a:latin typeface="+mj-lt"/>
              </a:rPr>
              <a:t>) and its standard error</a:t>
            </a:r>
          </a:p>
          <a:p>
            <a:pPr marL="210312" indent="-210312">
              <a:spcBef>
                <a:spcPts val="600"/>
              </a:spcBef>
              <a:buFont typeface="+mj-lt"/>
              <a:buAutoNum type="arabicPeriod"/>
            </a:pPr>
            <a:r>
              <a:rPr lang="en-US" sz="1200" dirty="0">
                <a:solidFill>
                  <a:schemeClr val="tx2"/>
                </a:solidFill>
                <a:latin typeface="+mj-lt"/>
              </a:rPr>
              <a:t>Relax the penalties/constraints to increase the complexity of the model and repeat steps 2-4</a:t>
            </a:r>
          </a:p>
          <a:p>
            <a:pPr marL="210312" indent="-210312">
              <a:spcBef>
                <a:spcPts val="600"/>
              </a:spcBef>
              <a:buFont typeface="+mj-lt"/>
              <a:buAutoNum type="arabicPeriod"/>
            </a:pPr>
            <a:r>
              <a:rPr lang="en-US" sz="1200" dirty="0">
                <a:solidFill>
                  <a:schemeClr val="tx2"/>
                </a:solidFill>
                <a:latin typeface="+mj-lt"/>
              </a:rPr>
              <a:t>After repeating to maximally complex model, examine </a:t>
            </a:r>
            <a:r>
              <a:rPr lang="en-US" sz="1200" dirty="0" err="1">
                <a:solidFill>
                  <a:schemeClr val="tx2"/>
                </a:solidFill>
                <a:latin typeface="+mj-lt"/>
              </a:rPr>
              <a:t>Xerror</a:t>
            </a:r>
            <a:r>
              <a:rPr lang="en-US" sz="1200" dirty="0">
                <a:solidFill>
                  <a:schemeClr val="tx2"/>
                </a:solidFill>
                <a:latin typeface="+mj-lt"/>
              </a:rPr>
              <a:t> as a function of the penalty/constraint values</a:t>
            </a:r>
          </a:p>
          <a:p>
            <a:pPr marL="210312" indent="-210312">
              <a:spcBef>
                <a:spcPts val="600"/>
              </a:spcBef>
              <a:buFont typeface="+mj-lt"/>
              <a:buAutoNum type="arabicPeriod"/>
            </a:pPr>
            <a:r>
              <a:rPr lang="en-US" sz="1200" dirty="0">
                <a:solidFill>
                  <a:schemeClr val="tx2"/>
                </a:solidFill>
                <a:latin typeface="+mj-lt"/>
              </a:rPr>
              <a:t>“1 S.E. Rule of Thumb” – choose the penalty/constraint that generates the least complex model with </a:t>
            </a:r>
            <a:r>
              <a:rPr lang="en-US" sz="1200" dirty="0" err="1">
                <a:solidFill>
                  <a:schemeClr val="tx2"/>
                </a:solidFill>
                <a:latin typeface="+mj-lt"/>
              </a:rPr>
              <a:t>Xerror</a:t>
            </a:r>
            <a:r>
              <a:rPr lang="en-US" sz="1200" dirty="0">
                <a:solidFill>
                  <a:schemeClr val="tx2"/>
                </a:solidFill>
                <a:latin typeface="+mj-lt"/>
              </a:rPr>
              <a:t> not more than the minimum </a:t>
            </a:r>
            <a:r>
              <a:rPr lang="en-US" sz="1200" dirty="0" err="1">
                <a:solidFill>
                  <a:schemeClr val="tx2"/>
                </a:solidFill>
                <a:latin typeface="+mj-lt"/>
              </a:rPr>
              <a:t>Xerror</a:t>
            </a:r>
            <a:r>
              <a:rPr lang="en-US" sz="1200" dirty="0">
                <a:solidFill>
                  <a:schemeClr val="tx2"/>
                </a:solidFill>
                <a:latin typeface="+mj-lt"/>
              </a:rPr>
              <a:t> (plus 1 standard error)</a:t>
            </a:r>
          </a:p>
        </p:txBody>
      </p:sp>
      <p:sp>
        <p:nvSpPr>
          <p:cNvPr id="63" name="Left Brace 62"/>
          <p:cNvSpPr/>
          <p:nvPr/>
        </p:nvSpPr>
        <p:spPr>
          <a:xfrm>
            <a:off x="6776864" y="2551659"/>
            <a:ext cx="176386" cy="934491"/>
          </a:xfrm>
          <a:prstGeom prst="leftBrace">
            <a:avLst>
              <a:gd name="adj1" fmla="val 87758"/>
              <a:gd name="adj2" fmla="val 50273"/>
            </a:avLst>
          </a:prstGeom>
          <a:noFill/>
          <a:ln w="12700">
            <a:solidFill>
              <a:srgbClr val="A4AAAD"/>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atin typeface="+mj-lt"/>
            </a:endParaRPr>
          </a:p>
        </p:txBody>
      </p:sp>
      <p:cxnSp>
        <p:nvCxnSpPr>
          <p:cNvPr id="72" name="Connector: Curved 58"/>
          <p:cNvCxnSpPr>
            <a:cxnSpLocks/>
            <a:stCxn id="63" idx="1"/>
          </p:cNvCxnSpPr>
          <p:nvPr/>
        </p:nvCxnSpPr>
        <p:spPr>
          <a:xfrm rot="10800000" flipV="1">
            <a:off x="4724346" y="3021455"/>
            <a:ext cx="2052519" cy="1386055"/>
          </a:xfrm>
          <a:prstGeom prst="bentConnector3">
            <a:avLst/>
          </a:prstGeom>
          <a:ln w="12700">
            <a:solidFill>
              <a:srgbClr val="A4AAAD"/>
            </a:solidFill>
            <a:tailEnd type="triangle"/>
          </a:ln>
        </p:spPr>
        <p:style>
          <a:lnRef idx="2">
            <a:schemeClr val="accent2"/>
          </a:lnRef>
          <a:fillRef idx="1">
            <a:schemeClr val="lt1"/>
          </a:fillRef>
          <a:effectRef idx="0">
            <a:schemeClr val="accent2"/>
          </a:effectRef>
          <a:fontRef idx="minor">
            <a:schemeClr val="dk1"/>
          </a:fontRef>
        </p:style>
      </p:cxnSp>
      <p:sp>
        <p:nvSpPr>
          <p:cNvPr id="76" name="Arrow: Curved Right 73"/>
          <p:cNvSpPr/>
          <p:nvPr/>
        </p:nvSpPr>
        <p:spPr>
          <a:xfrm rot="10800000">
            <a:off x="10466863" y="2551658"/>
            <a:ext cx="416758" cy="1431204"/>
          </a:xfrm>
          <a:prstGeom prst="curvedRightArrow">
            <a:avLst/>
          </a:prstGeom>
          <a:solidFill>
            <a:srgbClr val="A4AAAD"/>
          </a:solidFill>
          <a:ln w="12700">
            <a:solidFill>
              <a:srgbClr val="A4AAAD"/>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latin typeface="+mj-lt"/>
            </a:endParaRPr>
          </a:p>
        </p:txBody>
      </p:sp>
      <p:grpSp>
        <p:nvGrpSpPr>
          <p:cNvPr id="27" name="Group 26">
            <a:extLst>
              <a:ext uri="{FF2B5EF4-FFF2-40B4-BE49-F238E27FC236}">
                <a16:creationId xmlns:a16="http://schemas.microsoft.com/office/drawing/2014/main" id="{0D563BE0-7848-4E52-900B-813FE3409929}"/>
              </a:ext>
            </a:extLst>
          </p:cNvPr>
          <p:cNvGrpSpPr/>
          <p:nvPr/>
        </p:nvGrpSpPr>
        <p:grpSpPr>
          <a:xfrm>
            <a:off x="857049" y="4230513"/>
            <a:ext cx="3667803" cy="307199"/>
            <a:chOff x="1271394" y="4101922"/>
            <a:chExt cx="3667803" cy="307199"/>
          </a:xfrm>
        </p:grpSpPr>
        <p:sp>
          <p:nvSpPr>
            <p:cNvPr id="115" name="Rectangle 114"/>
            <p:cNvSpPr/>
            <p:nvPr/>
          </p:nvSpPr>
          <p:spPr>
            <a:xfrm>
              <a:off x="1870237" y="4155040"/>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16" name="Rectangle 115"/>
            <p:cNvSpPr/>
            <p:nvPr/>
          </p:nvSpPr>
          <p:spPr>
            <a:xfrm>
              <a:off x="2484029" y="4155040"/>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17" name="Rectangle 116"/>
            <p:cNvSpPr/>
            <p:nvPr/>
          </p:nvSpPr>
          <p:spPr>
            <a:xfrm>
              <a:off x="2588708" y="4155040"/>
              <a:ext cx="1122905"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atin typeface="+mj-lt"/>
                </a:rPr>
                <a:t>Train</a:t>
              </a:r>
            </a:p>
          </p:txBody>
        </p:sp>
        <p:sp>
          <p:nvSpPr>
            <p:cNvPr id="118" name="Rectangle 117"/>
            <p:cNvSpPr/>
            <p:nvPr/>
          </p:nvSpPr>
          <p:spPr>
            <a:xfrm>
              <a:off x="3711613" y="4155040"/>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19" name="Rectangle 118"/>
            <p:cNvSpPr/>
            <p:nvPr/>
          </p:nvSpPr>
          <p:spPr>
            <a:xfrm>
              <a:off x="4325405" y="4155040"/>
              <a:ext cx="613792" cy="220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rPr>
                <a:t>Test</a:t>
              </a:r>
            </a:p>
          </p:txBody>
        </p:sp>
        <p:sp>
          <p:nvSpPr>
            <p:cNvPr id="114" name="TextBox 113"/>
            <p:cNvSpPr txBox="1"/>
            <p:nvPr/>
          </p:nvSpPr>
          <p:spPr>
            <a:xfrm>
              <a:off x="1271394" y="4101922"/>
              <a:ext cx="626398" cy="307199"/>
            </a:xfrm>
            <a:prstGeom prst="rect">
              <a:avLst/>
            </a:prstGeom>
            <a:noFill/>
          </p:spPr>
          <p:txBody>
            <a:bodyPr wrap="none" rtlCol="0">
              <a:spAutoFit/>
            </a:bodyPr>
            <a:lstStyle/>
            <a:p>
              <a:r>
                <a:rPr lang="en-US" sz="1000" dirty="0">
                  <a:solidFill>
                    <a:schemeClr val="tx2"/>
                  </a:solidFill>
                  <a:latin typeface="+mj-lt"/>
                </a:rPr>
                <a:t>Fold 1</a:t>
              </a:r>
            </a:p>
          </p:txBody>
        </p:sp>
      </p:grpSp>
      <p:grpSp>
        <p:nvGrpSpPr>
          <p:cNvPr id="28" name="Group 27">
            <a:extLst>
              <a:ext uri="{FF2B5EF4-FFF2-40B4-BE49-F238E27FC236}">
                <a16:creationId xmlns:a16="http://schemas.microsoft.com/office/drawing/2014/main" id="{12353201-5981-476D-BA62-55D4A85AE1B9}"/>
              </a:ext>
            </a:extLst>
          </p:cNvPr>
          <p:cNvGrpSpPr/>
          <p:nvPr/>
        </p:nvGrpSpPr>
        <p:grpSpPr>
          <a:xfrm>
            <a:off x="848635" y="4554378"/>
            <a:ext cx="3676217" cy="1278793"/>
            <a:chOff x="1262980" y="4425787"/>
            <a:chExt cx="3676217" cy="1278793"/>
          </a:xfrm>
        </p:grpSpPr>
        <p:sp>
          <p:nvSpPr>
            <p:cNvPr id="108" name="Rectangle 107"/>
            <p:cNvSpPr/>
            <p:nvPr/>
          </p:nvSpPr>
          <p:spPr>
            <a:xfrm>
              <a:off x="3097821" y="4478905"/>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09" name="Rectangle 108"/>
            <p:cNvSpPr/>
            <p:nvPr/>
          </p:nvSpPr>
          <p:spPr>
            <a:xfrm>
              <a:off x="1870237" y="4478905"/>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10" name="Rectangle 109"/>
            <p:cNvSpPr/>
            <p:nvPr/>
          </p:nvSpPr>
          <p:spPr>
            <a:xfrm>
              <a:off x="2094384" y="4478905"/>
              <a:ext cx="1401254"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111" name="Rectangle 110"/>
            <p:cNvSpPr/>
            <p:nvPr/>
          </p:nvSpPr>
          <p:spPr>
            <a:xfrm>
              <a:off x="3711613" y="4478905"/>
              <a:ext cx="613792" cy="220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rPr>
                <a:t>Test</a:t>
              </a:r>
            </a:p>
          </p:txBody>
        </p:sp>
        <p:sp>
          <p:nvSpPr>
            <p:cNvPr id="112" name="Rectangle 111"/>
            <p:cNvSpPr/>
            <p:nvPr/>
          </p:nvSpPr>
          <p:spPr>
            <a:xfrm>
              <a:off x="4325405" y="4478905"/>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07" name="TextBox 106"/>
            <p:cNvSpPr txBox="1"/>
            <p:nvPr/>
          </p:nvSpPr>
          <p:spPr>
            <a:xfrm>
              <a:off x="1269094" y="4425787"/>
              <a:ext cx="626398" cy="307199"/>
            </a:xfrm>
            <a:prstGeom prst="rect">
              <a:avLst/>
            </a:prstGeom>
            <a:noFill/>
          </p:spPr>
          <p:txBody>
            <a:bodyPr wrap="none" rtlCol="0">
              <a:spAutoFit/>
            </a:bodyPr>
            <a:lstStyle/>
            <a:p>
              <a:r>
                <a:rPr lang="en-US" sz="1000" dirty="0">
                  <a:solidFill>
                    <a:schemeClr val="tx2"/>
                  </a:solidFill>
                  <a:latin typeface="+mj-lt"/>
                </a:rPr>
                <a:t>Fold 2</a:t>
              </a:r>
            </a:p>
          </p:txBody>
        </p:sp>
        <p:sp>
          <p:nvSpPr>
            <p:cNvPr id="101" name="Rectangle 100"/>
            <p:cNvSpPr/>
            <p:nvPr/>
          </p:nvSpPr>
          <p:spPr>
            <a:xfrm>
              <a:off x="1870236" y="4802770"/>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102" name="Rectangle 101"/>
            <p:cNvSpPr/>
            <p:nvPr/>
          </p:nvSpPr>
          <p:spPr>
            <a:xfrm>
              <a:off x="1969602" y="4802770"/>
              <a:ext cx="1128217"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103" name="Rectangle 102"/>
            <p:cNvSpPr/>
            <p:nvPr/>
          </p:nvSpPr>
          <p:spPr>
            <a:xfrm>
              <a:off x="3097820" y="4802770"/>
              <a:ext cx="613792" cy="220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rPr>
                <a:t>Test</a:t>
              </a:r>
            </a:p>
          </p:txBody>
        </p:sp>
        <p:sp>
          <p:nvSpPr>
            <p:cNvPr id="104" name="Rectangle 103"/>
            <p:cNvSpPr/>
            <p:nvPr/>
          </p:nvSpPr>
          <p:spPr>
            <a:xfrm>
              <a:off x="3711612" y="4802770"/>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105" name="Rectangle 104"/>
            <p:cNvSpPr/>
            <p:nvPr/>
          </p:nvSpPr>
          <p:spPr>
            <a:xfrm>
              <a:off x="3862897" y="4802770"/>
              <a:ext cx="1076299"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100" name="TextBox 99"/>
            <p:cNvSpPr txBox="1"/>
            <p:nvPr/>
          </p:nvSpPr>
          <p:spPr>
            <a:xfrm>
              <a:off x="1269094" y="4749652"/>
              <a:ext cx="626398" cy="307199"/>
            </a:xfrm>
            <a:prstGeom prst="rect">
              <a:avLst/>
            </a:prstGeom>
            <a:noFill/>
          </p:spPr>
          <p:txBody>
            <a:bodyPr wrap="none" rtlCol="0">
              <a:spAutoFit/>
            </a:bodyPr>
            <a:lstStyle/>
            <a:p>
              <a:r>
                <a:rPr lang="en-US" sz="1000" dirty="0">
                  <a:solidFill>
                    <a:schemeClr val="tx2"/>
                  </a:solidFill>
                  <a:latin typeface="+mj-lt"/>
                </a:rPr>
                <a:t>Fold 3</a:t>
              </a:r>
            </a:p>
          </p:txBody>
        </p:sp>
        <p:sp>
          <p:nvSpPr>
            <p:cNvPr id="94" name="Rectangle 93"/>
            <p:cNvSpPr/>
            <p:nvPr/>
          </p:nvSpPr>
          <p:spPr>
            <a:xfrm>
              <a:off x="1870236" y="5126634"/>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5" name="Rectangle 94"/>
            <p:cNvSpPr/>
            <p:nvPr/>
          </p:nvSpPr>
          <p:spPr>
            <a:xfrm>
              <a:off x="2484028" y="5126634"/>
              <a:ext cx="613792" cy="220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rPr>
                <a:t>Test</a:t>
              </a:r>
            </a:p>
          </p:txBody>
        </p:sp>
        <p:sp>
          <p:nvSpPr>
            <p:cNvPr id="96" name="Rectangle 95"/>
            <p:cNvSpPr/>
            <p:nvPr/>
          </p:nvSpPr>
          <p:spPr>
            <a:xfrm>
              <a:off x="3097820" y="5126634"/>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7" name="Rectangle 96"/>
            <p:cNvSpPr/>
            <p:nvPr/>
          </p:nvSpPr>
          <p:spPr>
            <a:xfrm>
              <a:off x="3711612" y="5126634"/>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8" name="Rectangle 97"/>
            <p:cNvSpPr/>
            <p:nvPr/>
          </p:nvSpPr>
          <p:spPr>
            <a:xfrm>
              <a:off x="4325404" y="5126634"/>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3" name="TextBox 92"/>
            <p:cNvSpPr txBox="1"/>
            <p:nvPr/>
          </p:nvSpPr>
          <p:spPr>
            <a:xfrm>
              <a:off x="1262980" y="5073517"/>
              <a:ext cx="626398" cy="307199"/>
            </a:xfrm>
            <a:prstGeom prst="rect">
              <a:avLst/>
            </a:prstGeom>
            <a:noFill/>
          </p:spPr>
          <p:txBody>
            <a:bodyPr wrap="none" rtlCol="0">
              <a:spAutoFit/>
            </a:bodyPr>
            <a:lstStyle/>
            <a:p>
              <a:r>
                <a:rPr lang="en-US" sz="1000" dirty="0">
                  <a:solidFill>
                    <a:schemeClr val="tx2"/>
                  </a:solidFill>
                  <a:latin typeface="+mj-lt"/>
                </a:rPr>
                <a:t>Fold 4</a:t>
              </a:r>
            </a:p>
          </p:txBody>
        </p:sp>
        <p:sp>
          <p:nvSpPr>
            <p:cNvPr id="87" name="Rectangle 86"/>
            <p:cNvSpPr/>
            <p:nvPr/>
          </p:nvSpPr>
          <p:spPr>
            <a:xfrm>
              <a:off x="1870234" y="5450499"/>
              <a:ext cx="613792" cy="220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rPr>
                <a:t>Test</a:t>
              </a:r>
            </a:p>
          </p:txBody>
        </p:sp>
        <p:sp>
          <p:nvSpPr>
            <p:cNvPr id="88" name="Rectangle 87"/>
            <p:cNvSpPr/>
            <p:nvPr/>
          </p:nvSpPr>
          <p:spPr>
            <a:xfrm>
              <a:off x="2484026" y="5450499"/>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89" name="Rectangle 88"/>
            <p:cNvSpPr/>
            <p:nvPr/>
          </p:nvSpPr>
          <p:spPr>
            <a:xfrm>
              <a:off x="3097818" y="5450499"/>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0" name="Rectangle 89"/>
            <p:cNvSpPr/>
            <p:nvPr/>
          </p:nvSpPr>
          <p:spPr>
            <a:xfrm>
              <a:off x="3711610" y="5450499"/>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91" name="Rectangle 90"/>
            <p:cNvSpPr/>
            <p:nvPr/>
          </p:nvSpPr>
          <p:spPr>
            <a:xfrm>
              <a:off x="4325402" y="5450499"/>
              <a:ext cx="613792" cy="2201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sp>
          <p:nvSpPr>
            <p:cNvPr id="86" name="TextBox 85"/>
            <p:cNvSpPr txBox="1"/>
            <p:nvPr/>
          </p:nvSpPr>
          <p:spPr>
            <a:xfrm>
              <a:off x="1274505" y="5397381"/>
              <a:ext cx="626398" cy="307199"/>
            </a:xfrm>
            <a:prstGeom prst="rect">
              <a:avLst/>
            </a:prstGeom>
            <a:noFill/>
          </p:spPr>
          <p:txBody>
            <a:bodyPr wrap="none" rtlCol="0">
              <a:spAutoFit/>
            </a:bodyPr>
            <a:lstStyle/>
            <a:p>
              <a:r>
                <a:rPr lang="en-US" sz="1000" dirty="0">
                  <a:solidFill>
                    <a:schemeClr val="tx2"/>
                  </a:solidFill>
                  <a:latin typeface="+mj-lt"/>
                </a:rPr>
                <a:t>Fold 5</a:t>
              </a:r>
            </a:p>
          </p:txBody>
        </p:sp>
      </p:grpSp>
      <p:sp>
        <p:nvSpPr>
          <p:cNvPr id="120" name="Left Brace 119"/>
          <p:cNvSpPr/>
          <p:nvPr/>
        </p:nvSpPr>
        <p:spPr>
          <a:xfrm rot="10800000">
            <a:off x="4548810" y="4283631"/>
            <a:ext cx="120810" cy="1522354"/>
          </a:xfrm>
          <a:prstGeom prst="leftBrace">
            <a:avLst>
              <a:gd name="adj1" fmla="val 60132"/>
              <a:gd name="adj2" fmla="val 46336"/>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latin typeface="+mj-lt"/>
            </a:endParaRPr>
          </a:p>
        </p:txBody>
      </p:sp>
      <p:sp>
        <p:nvSpPr>
          <p:cNvPr id="122" name="TextBox 121"/>
          <p:cNvSpPr txBox="1"/>
          <p:nvPr/>
        </p:nvSpPr>
        <p:spPr>
          <a:xfrm>
            <a:off x="4724345" y="4878243"/>
            <a:ext cx="1114524" cy="43088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chorCtr="0">
            <a:noAutofit/>
          </a:bodyPr>
          <a:lstStyle/>
          <a:p>
            <a:pPr algn="ctr"/>
            <a:r>
              <a:rPr lang="en-US" sz="1000" dirty="0">
                <a:solidFill>
                  <a:schemeClr val="tx2"/>
                </a:solidFill>
                <a:latin typeface="+mj-lt"/>
              </a:rPr>
              <a:t>Calculate</a:t>
            </a:r>
          </a:p>
          <a:p>
            <a:pPr algn="ctr"/>
            <a:r>
              <a:rPr lang="en-US" sz="1000" dirty="0" err="1">
                <a:solidFill>
                  <a:schemeClr val="tx2"/>
                </a:solidFill>
                <a:latin typeface="+mj-lt"/>
              </a:rPr>
              <a:t>Xerror</a:t>
            </a:r>
            <a:endParaRPr lang="en-US" sz="1000" dirty="0">
              <a:solidFill>
                <a:schemeClr val="tx2"/>
              </a:solidFill>
              <a:latin typeface="+mj-lt"/>
            </a:endParaRPr>
          </a:p>
        </p:txBody>
      </p:sp>
      <p:sp>
        <p:nvSpPr>
          <p:cNvPr id="123" name="TextBox 122"/>
          <p:cNvSpPr txBox="1"/>
          <p:nvPr/>
        </p:nvSpPr>
        <p:spPr>
          <a:xfrm>
            <a:off x="6519817" y="4435312"/>
            <a:ext cx="161694" cy="119872"/>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rtlCol="0" anchor="ctr" anchorCtr="0">
            <a:noAutofit/>
          </a:bodyPr>
          <a:lstStyle/>
          <a:p>
            <a:pPr algn="ctr"/>
            <a:endParaRPr lang="en-US" sz="1100" dirty="0">
              <a:latin typeface="+mj-lt"/>
            </a:endParaRPr>
          </a:p>
        </p:txBody>
      </p:sp>
      <p:cxnSp>
        <p:nvCxnSpPr>
          <p:cNvPr id="32" name="Connector: Elbow 31">
            <a:extLst>
              <a:ext uri="{FF2B5EF4-FFF2-40B4-BE49-F238E27FC236}">
                <a16:creationId xmlns:a16="http://schemas.microsoft.com/office/drawing/2014/main" id="{50C849F2-2EF1-49E7-BD03-2D766EDBEB8E}"/>
              </a:ext>
            </a:extLst>
          </p:cNvPr>
          <p:cNvCxnSpPr>
            <a:cxnSpLocks/>
            <a:stCxn id="122" idx="3"/>
            <a:endCxn id="62" idx="1"/>
          </p:cNvCxnSpPr>
          <p:nvPr/>
        </p:nvCxnSpPr>
        <p:spPr>
          <a:xfrm flipV="1">
            <a:off x="5838869" y="3982864"/>
            <a:ext cx="1172906" cy="1110823"/>
          </a:xfrm>
          <a:prstGeom prst="bentConnector3">
            <a:avLst/>
          </a:prstGeom>
          <a:ln w="12700">
            <a:solidFill>
              <a:srgbClr val="A4AAAD"/>
            </a:solidFill>
            <a:tailEnd type="triangle"/>
          </a:ln>
        </p:spPr>
        <p:style>
          <a:lnRef idx="2">
            <a:schemeClr val="accent2"/>
          </a:lnRef>
          <a:fillRef idx="1">
            <a:schemeClr val="lt1"/>
          </a:fillRef>
          <a:effectRef idx="0">
            <a:schemeClr val="accent2"/>
          </a:effectRef>
          <a:fontRef idx="minor">
            <a:schemeClr val="dk1"/>
          </a:fontRef>
        </p:style>
      </p:cxnSp>
      <p:sp>
        <p:nvSpPr>
          <p:cNvPr id="79" name="Arrow: Curved Right 73">
            <a:extLst>
              <a:ext uri="{FF2B5EF4-FFF2-40B4-BE49-F238E27FC236}">
                <a16:creationId xmlns:a16="http://schemas.microsoft.com/office/drawing/2014/main" id="{817EDE6C-46E0-4689-B2A2-7298C295E149}"/>
              </a:ext>
            </a:extLst>
          </p:cNvPr>
          <p:cNvSpPr/>
          <p:nvPr/>
        </p:nvSpPr>
        <p:spPr>
          <a:xfrm rot="10800000">
            <a:off x="10464330" y="2513553"/>
            <a:ext cx="565619" cy="2146806"/>
          </a:xfrm>
          <a:prstGeom prst="curvedRightArrow">
            <a:avLst/>
          </a:prstGeom>
          <a:solidFill>
            <a:srgbClr val="A4AAAD"/>
          </a:solidFill>
          <a:ln w="12700">
            <a:solidFill>
              <a:srgbClr val="A4AAAD"/>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latin typeface="+mj-lt"/>
            </a:endParaRPr>
          </a:p>
        </p:txBody>
      </p:sp>
    </p:spTree>
    <p:extLst>
      <p:ext uri="{BB962C8B-B14F-4D97-AF65-F5344CB8AC3E}">
        <p14:creationId xmlns:p14="http://schemas.microsoft.com/office/powerpoint/2010/main" val="3463006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2">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2">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2">
                                            <p:txEl>
                                              <p:pRg st="5" end="5"/>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2">
                                            <p:txEl>
                                              <p:pRg st="6" end="6"/>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2">
                                            <p:txEl>
                                              <p:pRg st="7" end="7"/>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76" grpId="0" animBg="1"/>
      <p:bldP spid="120" grpId="0" animBg="1"/>
      <p:bldP spid="122" grpId="0" animBg="1"/>
      <p:bldP spid="7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7C4402-59C7-451B-A55F-3A49C8CF449F}"/>
              </a:ext>
            </a:extLst>
          </p:cNvPr>
          <p:cNvPicPr>
            <a:picLocks noChangeAspect="1"/>
          </p:cNvPicPr>
          <p:nvPr/>
        </p:nvPicPr>
        <p:blipFill>
          <a:blip r:embed="rId2"/>
          <a:stretch>
            <a:fillRect/>
          </a:stretch>
        </p:blipFill>
        <p:spPr>
          <a:xfrm>
            <a:off x="2373888" y="540968"/>
            <a:ext cx="7444223" cy="5776064"/>
          </a:xfrm>
          <a:prstGeom prst="rect">
            <a:avLst/>
          </a:prstGeom>
        </p:spPr>
      </p:pic>
      <p:sp>
        <p:nvSpPr>
          <p:cNvPr id="13" name="TextBox 12"/>
          <p:cNvSpPr txBox="1"/>
          <p:nvPr/>
        </p:nvSpPr>
        <p:spPr>
          <a:xfrm>
            <a:off x="2967399" y="1209848"/>
            <a:ext cx="2287121" cy="591785"/>
          </a:xfrm>
          <a:prstGeom prst="rect">
            <a:avLst/>
          </a:prstGeom>
          <a:noFill/>
        </p:spPr>
        <p:txBody>
          <a:bodyPr wrap="none" rtlCol="0">
            <a:spAutoFit/>
          </a:bodyPr>
          <a:lstStyle/>
          <a:p>
            <a:r>
              <a:rPr lang="en-US" dirty="0"/>
              <a:t>Note: Model complexity </a:t>
            </a:r>
          </a:p>
          <a:p>
            <a:r>
              <a:rPr lang="en-US" dirty="0"/>
              <a:t>decreasing</a:t>
            </a:r>
          </a:p>
        </p:txBody>
      </p:sp>
      <p:sp>
        <p:nvSpPr>
          <p:cNvPr id="14" name="Arrow: Right 13"/>
          <p:cNvSpPr/>
          <p:nvPr/>
        </p:nvSpPr>
        <p:spPr>
          <a:xfrm rot="10800000">
            <a:off x="4059227" y="1557470"/>
            <a:ext cx="895984" cy="1615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7715513" y="982520"/>
            <a:ext cx="1340742" cy="523220"/>
          </a:xfrm>
          <a:prstGeom prst="rect">
            <a:avLst/>
          </a:prstGeom>
          <a:noFill/>
        </p:spPr>
        <p:txBody>
          <a:bodyPr wrap="square" rtlCol="0">
            <a:spAutoFit/>
          </a:bodyPr>
          <a:lstStyle/>
          <a:p>
            <a:r>
              <a:rPr lang="en-US" sz="1400" dirty="0">
                <a:solidFill>
                  <a:schemeClr val="accent1"/>
                </a:solidFill>
              </a:rPr>
              <a:t>1-SE Optimal CV Model</a:t>
            </a:r>
          </a:p>
        </p:txBody>
      </p:sp>
      <p:sp>
        <p:nvSpPr>
          <p:cNvPr id="18" name="TextBox 17"/>
          <p:cNvSpPr txBox="1"/>
          <p:nvPr/>
        </p:nvSpPr>
        <p:spPr>
          <a:xfrm>
            <a:off x="6583648" y="1398723"/>
            <a:ext cx="1081424" cy="479064"/>
          </a:xfrm>
          <a:prstGeom prst="rect">
            <a:avLst/>
          </a:prstGeom>
          <a:noFill/>
        </p:spPr>
        <p:txBody>
          <a:bodyPr wrap="square" rtlCol="0">
            <a:spAutoFit/>
          </a:bodyPr>
          <a:lstStyle/>
          <a:p>
            <a:r>
              <a:rPr lang="en-US" sz="1400" dirty="0">
                <a:solidFill>
                  <a:schemeClr val="accent1"/>
                </a:solidFill>
              </a:rPr>
              <a:t>Minimum </a:t>
            </a:r>
            <a:r>
              <a:rPr lang="en-US" sz="1400" dirty="0" err="1">
                <a:solidFill>
                  <a:schemeClr val="accent1"/>
                </a:solidFill>
              </a:rPr>
              <a:t>Xerror</a:t>
            </a:r>
            <a:r>
              <a:rPr lang="en-US" sz="1400" dirty="0">
                <a:solidFill>
                  <a:schemeClr val="accent1"/>
                </a:solidFill>
              </a:rPr>
              <a:t> Model</a:t>
            </a:r>
          </a:p>
        </p:txBody>
      </p:sp>
      <p:sp>
        <p:nvSpPr>
          <p:cNvPr id="9" name="TextBox 8">
            <a:extLst>
              <a:ext uri="{FF2B5EF4-FFF2-40B4-BE49-F238E27FC236}">
                <a16:creationId xmlns:a16="http://schemas.microsoft.com/office/drawing/2014/main" id="{B212A085-48FD-4EA6-BAED-0BFF6624A864}"/>
              </a:ext>
            </a:extLst>
          </p:cNvPr>
          <p:cNvSpPr txBox="1"/>
          <p:nvPr/>
        </p:nvSpPr>
        <p:spPr>
          <a:xfrm>
            <a:off x="4110959" y="1670191"/>
            <a:ext cx="1081424" cy="523220"/>
          </a:xfrm>
          <a:prstGeom prst="rect">
            <a:avLst/>
          </a:prstGeom>
          <a:noFill/>
        </p:spPr>
        <p:txBody>
          <a:bodyPr wrap="square" rtlCol="0">
            <a:spAutoFit/>
          </a:bodyPr>
          <a:lstStyle/>
          <a:p>
            <a:r>
              <a:rPr lang="en-US" sz="1400" dirty="0">
                <a:solidFill>
                  <a:schemeClr val="accent1"/>
                </a:solidFill>
              </a:rPr>
              <a:t>Complexity Increasing</a:t>
            </a:r>
          </a:p>
        </p:txBody>
      </p:sp>
      <p:sp>
        <p:nvSpPr>
          <p:cNvPr id="11" name="TextBox 10">
            <a:extLst>
              <a:ext uri="{FF2B5EF4-FFF2-40B4-BE49-F238E27FC236}">
                <a16:creationId xmlns:a16="http://schemas.microsoft.com/office/drawing/2014/main" id="{0A69E52C-43EA-4089-A4E8-63D774F2FAEB}"/>
              </a:ext>
            </a:extLst>
          </p:cNvPr>
          <p:cNvSpPr txBox="1"/>
          <p:nvPr/>
        </p:nvSpPr>
        <p:spPr>
          <a:xfrm>
            <a:off x="3114034" y="965637"/>
            <a:ext cx="940275" cy="400110"/>
          </a:xfrm>
          <a:prstGeom prst="rect">
            <a:avLst/>
          </a:prstGeom>
          <a:noFill/>
        </p:spPr>
        <p:txBody>
          <a:bodyPr wrap="square" rtlCol="0">
            <a:spAutoFit/>
          </a:bodyPr>
          <a:lstStyle/>
          <a:p>
            <a:pPr algn="r"/>
            <a:r>
              <a:rPr lang="en-US" sz="1000" dirty="0">
                <a:solidFill>
                  <a:schemeClr val="accent1"/>
                </a:solidFill>
              </a:rPr>
              <a:t>MLE Estimate</a:t>
            </a:r>
          </a:p>
        </p:txBody>
      </p:sp>
      <p:cxnSp>
        <p:nvCxnSpPr>
          <p:cNvPr id="12" name="Straight Connector 11">
            <a:extLst>
              <a:ext uri="{FF2B5EF4-FFF2-40B4-BE49-F238E27FC236}">
                <a16:creationId xmlns:a16="http://schemas.microsoft.com/office/drawing/2014/main" id="{09882F58-479D-4E97-BE79-03DE8AE74C87}"/>
              </a:ext>
            </a:extLst>
          </p:cNvPr>
          <p:cNvCxnSpPr>
            <a:cxnSpLocks/>
          </p:cNvCxnSpPr>
          <p:nvPr/>
        </p:nvCxnSpPr>
        <p:spPr>
          <a:xfrm>
            <a:off x="3176758" y="982520"/>
            <a:ext cx="41935" cy="466770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55908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172062" y="4350819"/>
            <a:ext cx="2457048" cy="1077218"/>
          </a:xfrm>
          <a:prstGeom prst="rect">
            <a:avLst/>
          </a:prstGeom>
          <a:solidFill>
            <a:schemeClr val="bg1">
              <a:alpha val="82000"/>
            </a:schemeClr>
          </a:solidFill>
        </p:spPr>
        <p:txBody>
          <a:bodyPr wrap="square" rtlCol="0">
            <a:spAutoFit/>
          </a:bodyPr>
          <a:lstStyle/>
          <a:p>
            <a:pPr algn="r"/>
            <a:r>
              <a:rPr lang="en-US" sz="1600" dirty="0">
                <a:solidFill>
                  <a:srgbClr val="FF0000"/>
                </a:solidFill>
              </a:rPr>
              <a:t>Note: None of these 20 variables were in the equation generating the simulated outcome data</a:t>
            </a:r>
          </a:p>
        </p:txBody>
      </p:sp>
      <p:pic>
        <p:nvPicPr>
          <p:cNvPr id="5" name="Picture 4">
            <a:extLst>
              <a:ext uri="{FF2B5EF4-FFF2-40B4-BE49-F238E27FC236}">
                <a16:creationId xmlns:a16="http://schemas.microsoft.com/office/drawing/2014/main" id="{5F28FB97-980F-40D2-BEAB-20A56B961C49}"/>
              </a:ext>
            </a:extLst>
          </p:cNvPr>
          <p:cNvPicPr>
            <a:picLocks noChangeAspect="1"/>
          </p:cNvPicPr>
          <p:nvPr/>
        </p:nvPicPr>
        <p:blipFill>
          <a:blip r:embed="rId4"/>
          <a:stretch>
            <a:fillRect/>
          </a:stretch>
        </p:blipFill>
        <p:spPr>
          <a:xfrm>
            <a:off x="1611957" y="266699"/>
            <a:ext cx="7369134" cy="6324602"/>
          </a:xfrm>
          <a:prstGeom prst="rect">
            <a:avLst/>
          </a:prstGeom>
        </p:spPr>
      </p:pic>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85"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 name="Right Brace 8"/>
          <p:cNvSpPr/>
          <p:nvPr/>
        </p:nvSpPr>
        <p:spPr>
          <a:xfrm>
            <a:off x="8766044" y="3489642"/>
            <a:ext cx="656480" cy="2622124"/>
          </a:xfrm>
          <a:prstGeom prst="rightBrace">
            <a:avLst>
              <a:gd name="adj1" fmla="val 8333"/>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C00000"/>
              </a:solidFill>
            </a:endParaRPr>
          </a:p>
        </p:txBody>
      </p:sp>
      <p:sp>
        <p:nvSpPr>
          <p:cNvPr id="15" name="Arrow: Right 14">
            <a:extLst>
              <a:ext uri="{FF2B5EF4-FFF2-40B4-BE49-F238E27FC236}">
                <a16:creationId xmlns:a16="http://schemas.microsoft.com/office/drawing/2014/main" id="{F99A5834-5E10-49C5-AFCE-28B8FA25EE43}"/>
              </a:ext>
            </a:extLst>
          </p:cNvPr>
          <p:cNvSpPr/>
          <p:nvPr/>
        </p:nvSpPr>
        <p:spPr>
          <a:xfrm rot="10800000">
            <a:off x="2692883" y="1557470"/>
            <a:ext cx="895984" cy="1615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1D3BC2C-A412-4417-8576-BA609D43067C}"/>
              </a:ext>
            </a:extLst>
          </p:cNvPr>
          <p:cNvSpPr txBox="1"/>
          <p:nvPr/>
        </p:nvSpPr>
        <p:spPr>
          <a:xfrm>
            <a:off x="6349169" y="982520"/>
            <a:ext cx="1340742" cy="523220"/>
          </a:xfrm>
          <a:prstGeom prst="rect">
            <a:avLst/>
          </a:prstGeom>
          <a:noFill/>
        </p:spPr>
        <p:txBody>
          <a:bodyPr wrap="square" rtlCol="0">
            <a:spAutoFit/>
          </a:bodyPr>
          <a:lstStyle/>
          <a:p>
            <a:r>
              <a:rPr lang="en-US" sz="1400" dirty="0">
                <a:solidFill>
                  <a:schemeClr val="accent1"/>
                </a:solidFill>
              </a:rPr>
              <a:t>1-SE Optimal CV Model</a:t>
            </a:r>
          </a:p>
        </p:txBody>
      </p:sp>
      <p:sp>
        <p:nvSpPr>
          <p:cNvPr id="17" name="TextBox 16">
            <a:extLst>
              <a:ext uri="{FF2B5EF4-FFF2-40B4-BE49-F238E27FC236}">
                <a16:creationId xmlns:a16="http://schemas.microsoft.com/office/drawing/2014/main" id="{D1F1A6FE-EB75-4348-AD8D-4A3E54742310}"/>
              </a:ext>
            </a:extLst>
          </p:cNvPr>
          <p:cNvSpPr txBox="1"/>
          <p:nvPr/>
        </p:nvSpPr>
        <p:spPr>
          <a:xfrm>
            <a:off x="5217304" y="1398723"/>
            <a:ext cx="1081424" cy="479064"/>
          </a:xfrm>
          <a:prstGeom prst="rect">
            <a:avLst/>
          </a:prstGeom>
          <a:noFill/>
        </p:spPr>
        <p:txBody>
          <a:bodyPr wrap="square" rtlCol="0">
            <a:spAutoFit/>
          </a:bodyPr>
          <a:lstStyle/>
          <a:p>
            <a:r>
              <a:rPr lang="en-US" sz="1400" dirty="0">
                <a:solidFill>
                  <a:schemeClr val="accent1"/>
                </a:solidFill>
              </a:rPr>
              <a:t>Minimum </a:t>
            </a:r>
            <a:r>
              <a:rPr lang="en-US" sz="1400" dirty="0" err="1">
                <a:solidFill>
                  <a:schemeClr val="accent1"/>
                </a:solidFill>
              </a:rPr>
              <a:t>Xerror</a:t>
            </a:r>
            <a:r>
              <a:rPr lang="en-US" sz="1400" dirty="0">
                <a:solidFill>
                  <a:schemeClr val="accent1"/>
                </a:solidFill>
              </a:rPr>
              <a:t> Model</a:t>
            </a:r>
          </a:p>
        </p:txBody>
      </p:sp>
      <p:sp>
        <p:nvSpPr>
          <p:cNvPr id="20" name="TextBox 19">
            <a:extLst>
              <a:ext uri="{FF2B5EF4-FFF2-40B4-BE49-F238E27FC236}">
                <a16:creationId xmlns:a16="http://schemas.microsoft.com/office/drawing/2014/main" id="{BAF59291-4AA6-4152-8CE7-5DE4BF5321C3}"/>
              </a:ext>
            </a:extLst>
          </p:cNvPr>
          <p:cNvSpPr txBox="1"/>
          <p:nvPr/>
        </p:nvSpPr>
        <p:spPr>
          <a:xfrm>
            <a:off x="2744615" y="1670191"/>
            <a:ext cx="1081424" cy="523220"/>
          </a:xfrm>
          <a:prstGeom prst="rect">
            <a:avLst/>
          </a:prstGeom>
          <a:noFill/>
        </p:spPr>
        <p:txBody>
          <a:bodyPr wrap="square" rtlCol="0">
            <a:spAutoFit/>
          </a:bodyPr>
          <a:lstStyle/>
          <a:p>
            <a:r>
              <a:rPr lang="en-US" sz="1400" dirty="0">
                <a:solidFill>
                  <a:schemeClr val="accent1"/>
                </a:solidFill>
              </a:rPr>
              <a:t>Complexity Increasing</a:t>
            </a:r>
          </a:p>
        </p:txBody>
      </p:sp>
      <p:sp>
        <p:nvSpPr>
          <p:cNvPr id="21" name="TextBox 20">
            <a:extLst>
              <a:ext uri="{FF2B5EF4-FFF2-40B4-BE49-F238E27FC236}">
                <a16:creationId xmlns:a16="http://schemas.microsoft.com/office/drawing/2014/main" id="{E3ABDEF2-8F49-4333-896C-D7E91CF2FB31}"/>
              </a:ext>
            </a:extLst>
          </p:cNvPr>
          <p:cNvSpPr txBox="1"/>
          <p:nvPr/>
        </p:nvSpPr>
        <p:spPr>
          <a:xfrm>
            <a:off x="2389407" y="681858"/>
            <a:ext cx="940275" cy="246221"/>
          </a:xfrm>
          <a:prstGeom prst="rect">
            <a:avLst/>
          </a:prstGeom>
          <a:noFill/>
        </p:spPr>
        <p:txBody>
          <a:bodyPr wrap="square" rtlCol="0">
            <a:spAutoFit/>
          </a:bodyPr>
          <a:lstStyle/>
          <a:p>
            <a:pPr algn="r"/>
            <a:r>
              <a:rPr lang="en-US" sz="1000" dirty="0">
                <a:solidFill>
                  <a:schemeClr val="accent1"/>
                </a:solidFill>
              </a:rPr>
              <a:t>MLE Estimate</a:t>
            </a:r>
          </a:p>
        </p:txBody>
      </p:sp>
      <p:cxnSp>
        <p:nvCxnSpPr>
          <p:cNvPr id="22" name="Straight Connector 21">
            <a:extLst>
              <a:ext uri="{FF2B5EF4-FFF2-40B4-BE49-F238E27FC236}">
                <a16:creationId xmlns:a16="http://schemas.microsoft.com/office/drawing/2014/main" id="{E175FE58-A86B-4FA5-8B6C-3268280D8D74}"/>
              </a:ext>
            </a:extLst>
          </p:cNvPr>
          <p:cNvCxnSpPr>
            <a:cxnSpLocks/>
          </p:cNvCxnSpPr>
          <p:nvPr/>
        </p:nvCxnSpPr>
        <p:spPr>
          <a:xfrm>
            <a:off x="2452131" y="698741"/>
            <a:ext cx="0" cy="514501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00704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1F935-B3E9-429A-B2E1-EB7E6A66F782}"/>
              </a:ext>
            </a:extLst>
          </p:cNvPr>
          <p:cNvSpPr>
            <a:spLocks noGrp="1"/>
          </p:cNvSpPr>
          <p:nvPr>
            <p:ph type="title"/>
          </p:nvPr>
        </p:nvSpPr>
        <p:spPr>
          <a:xfrm>
            <a:off x="838200" y="365125"/>
            <a:ext cx="4957549" cy="1325563"/>
          </a:xfrm>
        </p:spPr>
        <p:txBody>
          <a:bodyPr/>
          <a:lstStyle/>
          <a:p>
            <a:r>
              <a:rPr lang="en-US" dirty="0"/>
              <a:t>Comparing Performance</a:t>
            </a:r>
          </a:p>
        </p:txBody>
      </p:sp>
      <p:graphicFrame>
        <p:nvGraphicFramePr>
          <p:cNvPr id="5" name="Content Placeholder 4">
            <a:extLst>
              <a:ext uri="{FF2B5EF4-FFF2-40B4-BE49-F238E27FC236}">
                <a16:creationId xmlns:a16="http://schemas.microsoft.com/office/drawing/2014/main" id="{C869E95B-709F-4C73-A42C-45D8D2256EB6}"/>
              </a:ext>
            </a:extLst>
          </p:cNvPr>
          <p:cNvGraphicFramePr>
            <a:graphicFrameLocks noGrp="1"/>
          </p:cNvGraphicFramePr>
          <p:nvPr>
            <p:ph idx="1"/>
            <p:extLst>
              <p:ext uri="{D42A27DB-BD31-4B8C-83A1-F6EECF244321}">
                <p14:modId xmlns:p14="http://schemas.microsoft.com/office/powerpoint/2010/main" val="1657757649"/>
              </p:ext>
            </p:extLst>
          </p:nvPr>
        </p:nvGraphicFramePr>
        <p:xfrm>
          <a:off x="838200" y="1825625"/>
          <a:ext cx="4907507"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5A84FDD0-0638-4399-BD60-86C841EFA68A}"/>
              </a:ext>
            </a:extLst>
          </p:cNvPr>
          <p:cNvPicPr>
            <a:picLocks noChangeAspect="1"/>
          </p:cNvPicPr>
          <p:nvPr/>
        </p:nvPicPr>
        <p:blipFill>
          <a:blip r:embed="rId7"/>
          <a:stretch>
            <a:fillRect/>
          </a:stretch>
        </p:blipFill>
        <p:spPr>
          <a:xfrm>
            <a:off x="6503508" y="842096"/>
            <a:ext cx="4662388" cy="5453086"/>
          </a:xfrm>
          <a:prstGeom prst="rect">
            <a:avLst/>
          </a:prstGeom>
        </p:spPr>
      </p:pic>
    </p:spTree>
    <p:extLst>
      <p:ext uri="{BB962C8B-B14F-4D97-AF65-F5344CB8AC3E}">
        <p14:creationId xmlns:p14="http://schemas.microsoft.com/office/powerpoint/2010/main" val="1344430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6D4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EE92FAA-4204-40C3-948B-EE887EB46A60}"/>
              </a:ext>
            </a:extLst>
          </p:cNvPr>
          <p:cNvSpPr>
            <a:spLocks noGrp="1"/>
          </p:cNvSpPr>
          <p:nvPr>
            <p:ph type="title"/>
          </p:nvPr>
        </p:nvSpPr>
        <p:spPr>
          <a:xfrm>
            <a:off x="9093496" y="618681"/>
            <a:ext cx="2613872" cy="4794567"/>
          </a:xfrm>
        </p:spPr>
        <p:txBody>
          <a:bodyPr>
            <a:normAutofit/>
          </a:bodyPr>
          <a:lstStyle/>
          <a:p>
            <a:r>
              <a:rPr lang="en-US" sz="3600" dirty="0">
                <a:solidFill>
                  <a:srgbClr val="FFFFFF"/>
                </a:solidFill>
              </a:rPr>
              <a:t>“All our wisdom is stored in the trees.” </a:t>
            </a:r>
            <a:br>
              <a:rPr lang="en-US" sz="3600" dirty="0">
                <a:solidFill>
                  <a:srgbClr val="FFFFFF"/>
                </a:solidFill>
              </a:rPr>
            </a:br>
            <a:r>
              <a:rPr lang="en-US" sz="3600" dirty="0">
                <a:solidFill>
                  <a:srgbClr val="FFFFFF"/>
                </a:solidFill>
              </a:rPr>
              <a:t>      </a:t>
            </a:r>
            <a:r>
              <a:rPr lang="en-US" sz="2000" dirty="0">
                <a:solidFill>
                  <a:srgbClr val="FFFFFF"/>
                </a:solidFill>
              </a:rPr>
              <a:t>– Santosh </a:t>
            </a:r>
            <a:r>
              <a:rPr lang="en-US" sz="2000" dirty="0" err="1">
                <a:solidFill>
                  <a:srgbClr val="FFFFFF"/>
                </a:solidFill>
              </a:rPr>
              <a:t>Kalwar</a:t>
            </a:r>
            <a:endParaRPr lang="en-US" sz="3600" dirty="0">
              <a:solidFill>
                <a:srgbClr val="FFFFFF"/>
              </a:solidFill>
            </a:endParaRPr>
          </a:p>
        </p:txBody>
      </p:sp>
      <p:sp>
        <p:nvSpPr>
          <p:cNvPr id="12"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8CEB336-FF47-4198-A100-3F87554F7F79}"/>
              </a:ext>
            </a:extLst>
          </p:cNvPr>
          <p:cNvPicPr>
            <a:picLocks noChangeAspect="1"/>
          </p:cNvPicPr>
          <p:nvPr/>
        </p:nvPicPr>
        <p:blipFill rotWithShape="1">
          <a:blip r:embed="rId2"/>
          <a:srcRect t="2280" b="9397"/>
          <a:stretch/>
        </p:blipFill>
        <p:spPr>
          <a:xfrm>
            <a:off x="976251" y="942538"/>
            <a:ext cx="7163222" cy="4808332"/>
          </a:xfrm>
          <a:prstGeom prst="rect">
            <a:avLst/>
          </a:prstGeom>
          <a:effectLst/>
        </p:spPr>
      </p:pic>
      <p:sp>
        <p:nvSpPr>
          <p:cNvPr id="6" name="Rectangle 5">
            <a:extLst>
              <a:ext uri="{FF2B5EF4-FFF2-40B4-BE49-F238E27FC236}">
                <a16:creationId xmlns:a16="http://schemas.microsoft.com/office/drawing/2014/main" id="{97A94D8A-B7BC-482B-B57F-85F5A5366500}"/>
              </a:ext>
            </a:extLst>
          </p:cNvPr>
          <p:cNvSpPr/>
          <p:nvPr/>
        </p:nvSpPr>
        <p:spPr>
          <a:xfrm>
            <a:off x="5404281" y="5446070"/>
            <a:ext cx="2913063" cy="261610"/>
          </a:xfrm>
          <a:prstGeom prst="rect">
            <a:avLst/>
          </a:prstGeom>
        </p:spPr>
        <p:txBody>
          <a:bodyPr wrap="square">
            <a:spAutoFit/>
          </a:bodyPr>
          <a:lstStyle/>
          <a:p>
            <a:r>
              <a:rPr lang="en-US" sz="1100" dirty="0">
                <a:solidFill>
                  <a:srgbClr val="D18475"/>
                </a:solidFill>
                <a:hlinkClick r:id="rId3">
                  <a:extLst>
                    <a:ext uri="{A12FA001-AC4F-418D-AE19-62706E023703}">
                      <ahyp:hlinkClr xmlns:ahyp="http://schemas.microsoft.com/office/drawing/2018/hyperlinkcolor" val="tx"/>
                    </a:ext>
                  </a:extLst>
                </a:hlinkClick>
              </a:rPr>
              <a:t>https://crh.dev/TreeGenerator/index.html</a:t>
            </a:r>
            <a:endParaRPr lang="en-US" sz="1100" dirty="0">
              <a:solidFill>
                <a:srgbClr val="D18475"/>
              </a:solidFill>
            </a:endParaRPr>
          </a:p>
        </p:txBody>
      </p:sp>
    </p:spTree>
    <p:extLst>
      <p:ext uri="{BB962C8B-B14F-4D97-AF65-F5344CB8AC3E}">
        <p14:creationId xmlns:p14="http://schemas.microsoft.com/office/powerpoint/2010/main" val="3972647876"/>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EEC7FDD3-F836-43FC-A7BF-633CB00DEDB0}"/>
              </a:ext>
            </a:extLst>
          </p:cNvPr>
          <p:cNvSpPr/>
          <p:nvPr/>
        </p:nvSpPr>
        <p:spPr>
          <a:xfrm>
            <a:off x="1722922" y="456739"/>
            <a:ext cx="3291368" cy="1424055"/>
          </a:xfrm>
          <a:custGeom>
            <a:avLst/>
            <a:gdLst>
              <a:gd name="connsiteX0" fmla="*/ 0 w 1787050"/>
              <a:gd name="connsiteY0" fmla="*/ 0 h 1424055"/>
              <a:gd name="connsiteX1" fmla="*/ 1787050 w 1787050"/>
              <a:gd name="connsiteY1" fmla="*/ 0 h 1424055"/>
              <a:gd name="connsiteX2" fmla="*/ 1787050 w 1787050"/>
              <a:gd name="connsiteY2" fmla="*/ 1424055 h 1424055"/>
              <a:gd name="connsiteX3" fmla="*/ 0 w 1787050"/>
              <a:gd name="connsiteY3" fmla="*/ 1424055 h 1424055"/>
              <a:gd name="connsiteX4" fmla="*/ 0 w 1787050"/>
              <a:gd name="connsiteY4" fmla="*/ 0 h 142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050" h="1424055">
                <a:moveTo>
                  <a:pt x="0" y="0"/>
                </a:moveTo>
                <a:lnTo>
                  <a:pt x="1787050" y="0"/>
                </a:lnTo>
                <a:lnTo>
                  <a:pt x="1787050" y="1424055"/>
                </a:lnTo>
                <a:lnTo>
                  <a:pt x="0" y="1424055"/>
                </a:lnTo>
                <a:lnTo>
                  <a:pt x="0" y="0"/>
                </a:lnTo>
                <a:close/>
              </a:path>
            </a:pathLst>
          </a:custGeom>
          <a:gradFill flip="none" rotWithShape="1">
            <a:gsLst>
              <a:gs pos="0">
                <a:srgbClr val="6666FF"/>
              </a:gs>
              <a:gs pos="50000">
                <a:schemeClr val="accent5">
                  <a:hueOff val="0"/>
                  <a:satOff val="0"/>
                  <a:lumOff val="0"/>
                  <a:alphaOff val="0"/>
                  <a:lumMod val="105000"/>
                  <a:satMod val="103000"/>
                  <a:tint val="73000"/>
                </a:schemeClr>
              </a:gs>
              <a:gs pos="100000">
                <a:srgbClr val="A8DFC2"/>
              </a:gs>
            </a:gsLst>
            <a:lin ang="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0"/>
              <a:satOff val="0"/>
              <a:lumOff val="0"/>
              <a:alphaOff val="0"/>
            </a:schemeClr>
          </a:effectRef>
          <a:fontRef idx="minor">
            <a:schemeClr val="dk1"/>
          </a:fontRef>
        </p:style>
        <p:txBody>
          <a:bodyPr spcFirstLastPara="0" vert="horz" wrap="square" lIns="152400" tIns="152400" rIns="152400" bIns="152400" numCol="1" spcCol="1270" anchor="ctr" anchorCtr="0">
            <a:noAutofit/>
          </a:bodyPr>
          <a:lstStyle/>
          <a:p>
            <a:pPr marL="0" lvl="0" indent="0" algn="ctr" defTabSz="488950">
              <a:lnSpc>
                <a:spcPct val="90000"/>
              </a:lnSpc>
              <a:spcBef>
                <a:spcPct val="0"/>
              </a:spcBef>
              <a:spcAft>
                <a:spcPct val="35000"/>
              </a:spcAft>
              <a:buNone/>
            </a:pPr>
            <a:r>
              <a:rPr lang="en-US" sz="1600" kern="1200" dirty="0"/>
              <a:t>The algorithm finds a cut-point for each predictor that splits the training sample into two subgroups (nodes) that as different as possible from one another in the outcome</a:t>
            </a:r>
          </a:p>
        </p:txBody>
      </p:sp>
      <p:sp>
        <p:nvSpPr>
          <p:cNvPr id="5" name="Arrow: Right 4">
            <a:extLst>
              <a:ext uri="{FF2B5EF4-FFF2-40B4-BE49-F238E27FC236}">
                <a16:creationId xmlns:a16="http://schemas.microsoft.com/office/drawing/2014/main" id="{8844B493-F62E-4076-9A7B-25B8B356D023}"/>
              </a:ext>
            </a:extLst>
          </p:cNvPr>
          <p:cNvSpPr/>
          <p:nvPr/>
        </p:nvSpPr>
        <p:spPr>
          <a:xfrm>
            <a:off x="5064921" y="1047266"/>
            <a:ext cx="442392" cy="243000"/>
          </a:xfrm>
          <a:prstGeom prst="rightArrow">
            <a:avLst>
              <a:gd name="adj1" fmla="val 50000"/>
              <a:gd name="adj2" fmla="val 50000"/>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1689636"/>
              <a:satOff val="-4355"/>
              <a:lumOff val="-2941"/>
              <a:alphaOff val="0"/>
            </a:schemeClr>
          </a:fillRef>
          <a:effectRef idx="1">
            <a:schemeClr val="accent5">
              <a:hueOff val="-1689636"/>
              <a:satOff val="-4355"/>
              <a:lumOff val="-2941"/>
              <a:alphaOff val="0"/>
            </a:schemeClr>
          </a:effectRef>
          <a:fontRef idx="minor">
            <a:schemeClr val="dk1"/>
          </a:fontRef>
        </p:style>
      </p:sp>
      <p:sp>
        <p:nvSpPr>
          <p:cNvPr id="6" name="Freeform: Shape 5">
            <a:extLst>
              <a:ext uri="{FF2B5EF4-FFF2-40B4-BE49-F238E27FC236}">
                <a16:creationId xmlns:a16="http://schemas.microsoft.com/office/drawing/2014/main" id="{77719784-605A-42FD-A5F1-DC0759E61EFF}"/>
              </a:ext>
            </a:extLst>
          </p:cNvPr>
          <p:cNvSpPr/>
          <p:nvPr/>
        </p:nvSpPr>
        <p:spPr>
          <a:xfrm>
            <a:off x="5564156" y="456739"/>
            <a:ext cx="2949286" cy="1424055"/>
          </a:xfrm>
          <a:custGeom>
            <a:avLst/>
            <a:gdLst>
              <a:gd name="connsiteX0" fmla="*/ 0 w 1787050"/>
              <a:gd name="connsiteY0" fmla="*/ 0 h 1424055"/>
              <a:gd name="connsiteX1" fmla="*/ 1787050 w 1787050"/>
              <a:gd name="connsiteY1" fmla="*/ 0 h 1424055"/>
              <a:gd name="connsiteX2" fmla="*/ 1787050 w 1787050"/>
              <a:gd name="connsiteY2" fmla="*/ 1424055 h 1424055"/>
              <a:gd name="connsiteX3" fmla="*/ 0 w 1787050"/>
              <a:gd name="connsiteY3" fmla="*/ 1424055 h 1424055"/>
              <a:gd name="connsiteX4" fmla="*/ 0 w 1787050"/>
              <a:gd name="connsiteY4" fmla="*/ 0 h 142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050" h="1424055">
                <a:moveTo>
                  <a:pt x="0" y="0"/>
                </a:moveTo>
                <a:lnTo>
                  <a:pt x="1787050" y="0"/>
                </a:lnTo>
                <a:lnTo>
                  <a:pt x="1787050" y="1424055"/>
                </a:lnTo>
                <a:lnTo>
                  <a:pt x="0" y="1424055"/>
                </a:lnTo>
                <a:lnTo>
                  <a:pt x="0" y="0"/>
                </a:lnTo>
                <a:close/>
              </a:path>
            </a:pathLst>
          </a:custGeom>
          <a:gradFill flip="none" rotWithShape="1">
            <a:gsLst>
              <a:gs pos="0">
                <a:schemeClr val="accent5">
                  <a:hueOff val="-3379271"/>
                  <a:satOff val="-8710"/>
                  <a:lumOff val="-5883"/>
                  <a:alphaOff val="0"/>
                  <a:lumMod val="110000"/>
                  <a:satMod val="105000"/>
                  <a:tint val="67000"/>
                </a:schemeClr>
              </a:gs>
              <a:gs pos="50000">
                <a:schemeClr val="accent5">
                  <a:hueOff val="-3379271"/>
                  <a:satOff val="-8710"/>
                  <a:lumOff val="-5883"/>
                  <a:alphaOff val="0"/>
                  <a:lumMod val="105000"/>
                  <a:satMod val="103000"/>
                  <a:tint val="73000"/>
                </a:schemeClr>
              </a:gs>
              <a:gs pos="100000">
                <a:srgbClr val="BDCC2A"/>
              </a:gs>
            </a:gsLst>
            <a:lin ang="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3379271"/>
              <a:satOff val="-8710"/>
              <a:lumOff val="-5883"/>
              <a:alphaOff val="0"/>
            </a:schemeClr>
          </a:effectRef>
          <a:fontRef idx="minor">
            <a:schemeClr val="dk1"/>
          </a:fontRef>
        </p:style>
        <p:txBody>
          <a:bodyPr spcFirstLastPara="0" vert="horz" wrap="square" lIns="152400" tIns="152400" rIns="152400" bIns="152400" numCol="1" spcCol="1270" anchor="ctr" anchorCtr="0">
            <a:noAutofit/>
          </a:bodyPr>
          <a:lstStyle/>
          <a:p>
            <a:pPr marL="0" lvl="0" indent="0" algn="ctr" defTabSz="488950">
              <a:lnSpc>
                <a:spcPct val="90000"/>
              </a:lnSpc>
              <a:spcBef>
                <a:spcPct val="0"/>
              </a:spcBef>
              <a:spcAft>
                <a:spcPct val="35000"/>
              </a:spcAft>
              <a:buNone/>
            </a:pPr>
            <a:r>
              <a:rPr lang="en-US" sz="1600" kern="1200" dirty="0"/>
              <a:t>Then selects the predictor that produces the largest reduction in heterogeneity</a:t>
            </a:r>
          </a:p>
        </p:txBody>
      </p:sp>
      <p:sp>
        <p:nvSpPr>
          <p:cNvPr id="7" name="Arrow: Right 6">
            <a:extLst>
              <a:ext uri="{FF2B5EF4-FFF2-40B4-BE49-F238E27FC236}">
                <a16:creationId xmlns:a16="http://schemas.microsoft.com/office/drawing/2014/main" id="{9B42D281-D221-40DC-AB4F-FE77D85CBCBA}"/>
              </a:ext>
            </a:extLst>
          </p:cNvPr>
          <p:cNvSpPr/>
          <p:nvPr/>
        </p:nvSpPr>
        <p:spPr>
          <a:xfrm>
            <a:off x="8607192" y="1047266"/>
            <a:ext cx="442392" cy="243000"/>
          </a:xfrm>
          <a:prstGeom prst="rightArrow">
            <a:avLst>
              <a:gd name="adj1" fmla="val 50000"/>
              <a:gd name="adj2" fmla="val 50000"/>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5068907"/>
              <a:satOff val="-13064"/>
              <a:lumOff val="-8824"/>
              <a:alphaOff val="0"/>
            </a:schemeClr>
          </a:fillRef>
          <a:effectRef idx="1">
            <a:schemeClr val="accent5">
              <a:hueOff val="-5068907"/>
              <a:satOff val="-13064"/>
              <a:lumOff val="-8824"/>
              <a:alphaOff val="0"/>
            </a:schemeClr>
          </a:effectRef>
          <a:fontRef idx="minor">
            <a:schemeClr val="dk1"/>
          </a:fontRef>
        </p:style>
      </p:sp>
      <p:sp>
        <p:nvSpPr>
          <p:cNvPr id="8" name="Freeform: Shape 7">
            <a:extLst>
              <a:ext uri="{FF2B5EF4-FFF2-40B4-BE49-F238E27FC236}">
                <a16:creationId xmlns:a16="http://schemas.microsoft.com/office/drawing/2014/main" id="{546A4BC6-2EFB-4730-A1B8-FDC006A0FAC4}"/>
              </a:ext>
            </a:extLst>
          </p:cNvPr>
          <p:cNvSpPr/>
          <p:nvPr/>
        </p:nvSpPr>
        <p:spPr>
          <a:xfrm>
            <a:off x="9063309" y="456739"/>
            <a:ext cx="2949286" cy="1424055"/>
          </a:xfrm>
          <a:custGeom>
            <a:avLst/>
            <a:gdLst>
              <a:gd name="connsiteX0" fmla="*/ 0 w 1787050"/>
              <a:gd name="connsiteY0" fmla="*/ 0 h 1424055"/>
              <a:gd name="connsiteX1" fmla="*/ 1787050 w 1787050"/>
              <a:gd name="connsiteY1" fmla="*/ 0 h 1424055"/>
              <a:gd name="connsiteX2" fmla="*/ 1787050 w 1787050"/>
              <a:gd name="connsiteY2" fmla="*/ 1424055 h 1424055"/>
              <a:gd name="connsiteX3" fmla="*/ 0 w 1787050"/>
              <a:gd name="connsiteY3" fmla="*/ 1424055 h 1424055"/>
              <a:gd name="connsiteX4" fmla="*/ 0 w 1787050"/>
              <a:gd name="connsiteY4" fmla="*/ 0 h 142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050" h="1424055">
                <a:moveTo>
                  <a:pt x="0" y="0"/>
                </a:moveTo>
                <a:lnTo>
                  <a:pt x="1787050" y="0"/>
                </a:lnTo>
                <a:lnTo>
                  <a:pt x="1787050" y="1424055"/>
                </a:lnTo>
                <a:lnTo>
                  <a:pt x="0" y="1424055"/>
                </a:lnTo>
                <a:lnTo>
                  <a:pt x="0" y="0"/>
                </a:lnTo>
                <a:close/>
              </a:path>
            </a:pathLst>
          </a:custGeom>
          <a:gradFill flip="none" rotWithShape="1">
            <a:gsLst>
              <a:gs pos="0">
                <a:srgbClr val="BDCC2A"/>
              </a:gs>
              <a:gs pos="50000">
                <a:srgbClr val="FFB74C"/>
              </a:gs>
              <a:gs pos="100000">
                <a:srgbClr val="FF5510"/>
              </a:gs>
            </a:gsLst>
            <a:lin ang="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6758543"/>
              <a:satOff val="-17419"/>
              <a:lumOff val="-11765"/>
              <a:alphaOff val="0"/>
            </a:schemeClr>
          </a:effectRef>
          <a:fontRef idx="minor">
            <a:schemeClr val="dk1"/>
          </a:fontRef>
        </p:style>
        <p:txBody>
          <a:bodyPr spcFirstLastPara="0" vert="horz" wrap="square" lIns="152400" tIns="152400" rIns="152400" bIns="152400" numCol="1" spcCol="1270" anchor="ctr" anchorCtr="0">
            <a:noAutofit/>
          </a:bodyPr>
          <a:lstStyle/>
          <a:p>
            <a:pPr marL="0" lvl="0" indent="0" algn="ctr" defTabSz="488950">
              <a:lnSpc>
                <a:spcPct val="90000"/>
              </a:lnSpc>
              <a:spcBef>
                <a:spcPct val="0"/>
              </a:spcBef>
              <a:spcAft>
                <a:spcPct val="35000"/>
              </a:spcAft>
              <a:buNone/>
            </a:pPr>
            <a:r>
              <a:rPr lang="en-US" sz="1600" kern="1200"/>
              <a:t>Because it seeks the best split and selects the best variable, we call this a “greedy” algorithm</a:t>
            </a:r>
          </a:p>
        </p:txBody>
      </p:sp>
      <p:sp>
        <p:nvSpPr>
          <p:cNvPr id="9" name="Left Brace 8">
            <a:extLst>
              <a:ext uri="{FF2B5EF4-FFF2-40B4-BE49-F238E27FC236}">
                <a16:creationId xmlns:a16="http://schemas.microsoft.com/office/drawing/2014/main" id="{15A3DB3A-1929-4C28-8FEF-A58D0AD0404F}"/>
              </a:ext>
            </a:extLst>
          </p:cNvPr>
          <p:cNvSpPr/>
          <p:nvPr/>
        </p:nvSpPr>
        <p:spPr>
          <a:xfrm rot="16200000">
            <a:off x="7000648" y="351100"/>
            <a:ext cx="323105" cy="5600497"/>
          </a:xfrm>
          <a:prstGeom prst="leftBrace">
            <a:avLst>
              <a:gd name="adj1" fmla="val 8333"/>
              <a:gd name="adj2" fmla="val 45812"/>
            </a:avLst>
          </a:prstGeom>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a:solidFill>
                <a:schemeClr val="tx2"/>
              </a:solidFill>
              <a:latin typeface="+mj-lt"/>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6CAD843-D697-406E-94DD-04D8CDB447A1}"/>
                  </a:ext>
                </a:extLst>
              </p:cNvPr>
              <p:cNvSpPr txBox="1"/>
              <p:nvPr/>
            </p:nvSpPr>
            <p:spPr>
              <a:xfrm>
                <a:off x="6830007" y="1884404"/>
                <a:ext cx="86241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chemeClr val="tx2"/>
                              </a:solidFill>
                              <a:latin typeface="Cambria Math" panose="02040503050406030204" pitchFamily="18" charset="0"/>
                            </a:rPr>
                          </m:ctrlPr>
                        </m:sSubPr>
                        <m:e>
                          <m:acc>
                            <m:accPr>
                              <m:chr m:val="̅"/>
                              <m:ctrlPr>
                                <a:rPr lang="en-US" i="1">
                                  <a:solidFill>
                                    <a:schemeClr val="tx2"/>
                                  </a:solidFill>
                                  <a:latin typeface="Cambria Math" panose="02040503050406030204" pitchFamily="18" charset="0"/>
                                </a:rPr>
                              </m:ctrlPr>
                            </m:accPr>
                            <m:e>
                              <m:r>
                                <a:rPr lang="en-US" i="1">
                                  <a:solidFill>
                                    <a:schemeClr val="tx2"/>
                                  </a:solidFill>
                                  <a:latin typeface="Cambria Math" panose="02040503050406030204" pitchFamily="18" charset="0"/>
                                </a:rPr>
                                <m:t>𝑌</m:t>
                              </m:r>
                            </m:e>
                          </m:acc>
                        </m:e>
                        <m:sub>
                          <m:r>
                            <a:rPr lang="en-US" i="1">
                              <a:solidFill>
                                <a:schemeClr val="tx2"/>
                              </a:solidFill>
                              <a:latin typeface="Cambria Math" panose="02040503050406030204" pitchFamily="18" charset="0"/>
                            </a:rPr>
                            <m:t>1</m:t>
                          </m:r>
                        </m:sub>
                      </m:sSub>
                      <m:r>
                        <a:rPr lang="en-US" i="1">
                          <a:solidFill>
                            <a:schemeClr val="tx2"/>
                          </a:solidFill>
                          <a:latin typeface="Cambria Math" panose="02040503050406030204" pitchFamily="18" charset="0"/>
                        </a:rPr>
                        <m:t>=</m:t>
                      </m:r>
                      <m:r>
                        <a:rPr lang="en-US" b="0" i="1" smtClean="0">
                          <a:solidFill>
                            <a:schemeClr val="tx2"/>
                          </a:solidFill>
                          <a:latin typeface="Cambria Math" panose="02040503050406030204" pitchFamily="18" charset="0"/>
                        </a:rPr>
                        <m:t>1</m:t>
                      </m:r>
                      <m:r>
                        <a:rPr lang="en-US" i="1">
                          <a:solidFill>
                            <a:schemeClr val="tx2"/>
                          </a:solidFill>
                          <a:latin typeface="Cambria Math" panose="02040503050406030204" pitchFamily="18" charset="0"/>
                        </a:rPr>
                        <m:t>.0</m:t>
                      </m:r>
                    </m:oMath>
                  </m:oMathPara>
                </a14:m>
                <a:endParaRPr lang="en-US" dirty="0">
                  <a:solidFill>
                    <a:schemeClr val="tx2"/>
                  </a:solidFill>
                  <a:latin typeface="+mj-lt"/>
                </a:endParaRPr>
              </a:p>
            </p:txBody>
          </p:sp>
        </mc:Choice>
        <mc:Fallback xmlns="">
          <p:sp>
            <p:nvSpPr>
              <p:cNvPr id="10" name="TextBox 9">
                <a:extLst>
                  <a:ext uri="{FF2B5EF4-FFF2-40B4-BE49-F238E27FC236}">
                    <a16:creationId xmlns:a16="http://schemas.microsoft.com/office/drawing/2014/main" id="{96CAD843-D697-406E-94DD-04D8CDB447A1}"/>
                  </a:ext>
                </a:extLst>
              </p:cNvPr>
              <p:cNvSpPr txBox="1">
                <a:spLocks noRot="1" noChangeAspect="1" noMove="1" noResize="1" noEditPoints="1" noAdjustHandles="1" noChangeArrowheads="1" noChangeShapeType="1" noTextEdit="1"/>
              </p:cNvSpPr>
              <p:nvPr/>
            </p:nvSpPr>
            <p:spPr>
              <a:xfrm>
                <a:off x="6830007" y="1884404"/>
                <a:ext cx="862416" cy="276999"/>
              </a:xfrm>
              <a:prstGeom prst="rect">
                <a:avLst/>
              </a:prstGeom>
              <a:blipFill>
                <a:blip r:embed="rId2"/>
                <a:stretch>
                  <a:fillRect l="-5634" t="-4348" r="-6338"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4528F88-5BA7-4BE7-B2BF-EF2BCC9E2213}"/>
                  </a:ext>
                </a:extLst>
              </p:cNvPr>
              <p:cNvSpPr txBox="1"/>
              <p:nvPr/>
            </p:nvSpPr>
            <p:spPr>
              <a:xfrm>
                <a:off x="5115727" y="2913413"/>
                <a:ext cx="770275"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400" i="1" smtClean="0">
                              <a:solidFill>
                                <a:schemeClr val="tx2"/>
                              </a:solidFill>
                              <a:latin typeface="Cambria Math" panose="02040503050406030204" pitchFamily="18" charset="0"/>
                            </a:rPr>
                          </m:ctrlPr>
                        </m:sSubPr>
                        <m:e>
                          <m:acc>
                            <m:accPr>
                              <m:chr m:val="̅"/>
                              <m:ctrlPr>
                                <a:rPr lang="en-US" sz="1400" i="1">
                                  <a:solidFill>
                                    <a:schemeClr val="tx2"/>
                                  </a:solidFill>
                                  <a:latin typeface="Cambria Math" panose="02040503050406030204" pitchFamily="18" charset="0"/>
                                </a:rPr>
                              </m:ctrlPr>
                            </m:accPr>
                            <m:e>
                              <m:r>
                                <a:rPr lang="en-US" sz="1400" i="1">
                                  <a:solidFill>
                                    <a:schemeClr val="tx2"/>
                                  </a:solidFill>
                                  <a:latin typeface="Cambria Math" panose="02040503050406030204" pitchFamily="18" charset="0"/>
                                </a:rPr>
                                <m:t>𝑌</m:t>
                              </m:r>
                            </m:e>
                          </m:acc>
                        </m:e>
                        <m:sub>
                          <m:r>
                            <a:rPr lang="en-US" sz="1400" i="1">
                              <a:solidFill>
                                <a:schemeClr val="tx2"/>
                              </a:solidFill>
                              <a:latin typeface="Cambria Math" panose="02040503050406030204" pitchFamily="18" charset="0"/>
                            </a:rPr>
                            <m:t>3</m:t>
                          </m:r>
                        </m:sub>
                      </m:sSub>
                      <m:r>
                        <a:rPr lang="en-US" sz="1400" i="1">
                          <a:solidFill>
                            <a:schemeClr val="tx2"/>
                          </a:solidFill>
                          <a:latin typeface="Cambria Math" panose="02040503050406030204" pitchFamily="18" charset="0"/>
                        </a:rPr>
                        <m:t>=0.</m:t>
                      </m:r>
                      <m:r>
                        <a:rPr lang="en-US" sz="1400" b="0" i="1" smtClean="0">
                          <a:solidFill>
                            <a:schemeClr val="tx2"/>
                          </a:solidFill>
                          <a:latin typeface="Cambria Math" panose="02040503050406030204" pitchFamily="18" charset="0"/>
                        </a:rPr>
                        <m:t>68</m:t>
                      </m:r>
                    </m:oMath>
                  </m:oMathPara>
                </a14:m>
                <a:endParaRPr lang="en-US" sz="1400" dirty="0">
                  <a:solidFill>
                    <a:schemeClr val="tx2"/>
                  </a:solidFill>
                  <a:latin typeface="+mj-lt"/>
                </a:endParaRPr>
              </a:p>
            </p:txBody>
          </p:sp>
        </mc:Choice>
        <mc:Fallback xmlns="">
          <p:sp>
            <p:nvSpPr>
              <p:cNvPr id="11" name="TextBox 10">
                <a:extLst>
                  <a:ext uri="{FF2B5EF4-FFF2-40B4-BE49-F238E27FC236}">
                    <a16:creationId xmlns:a16="http://schemas.microsoft.com/office/drawing/2014/main" id="{64528F88-5BA7-4BE7-B2BF-EF2BCC9E2213}"/>
                  </a:ext>
                </a:extLst>
              </p:cNvPr>
              <p:cNvSpPr txBox="1">
                <a:spLocks noRot="1" noChangeAspect="1" noMove="1" noResize="1" noEditPoints="1" noAdjustHandles="1" noChangeArrowheads="1" noChangeShapeType="1" noTextEdit="1"/>
              </p:cNvSpPr>
              <p:nvPr/>
            </p:nvSpPr>
            <p:spPr>
              <a:xfrm>
                <a:off x="5115727" y="2913413"/>
                <a:ext cx="770275" cy="215444"/>
              </a:xfrm>
              <a:prstGeom prst="rect">
                <a:avLst/>
              </a:prstGeom>
              <a:blipFill>
                <a:blip r:embed="rId3"/>
                <a:stretch>
                  <a:fillRect l="-4724" r="-3937" b="-171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1FC88EB-D040-484F-BD1D-1393484E36EE}"/>
                  </a:ext>
                </a:extLst>
              </p:cNvPr>
              <p:cNvSpPr txBox="1"/>
              <p:nvPr/>
            </p:nvSpPr>
            <p:spPr>
              <a:xfrm>
                <a:off x="8143314" y="2872360"/>
                <a:ext cx="670889"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400" i="1" smtClean="0">
                              <a:solidFill>
                                <a:schemeClr val="tx2"/>
                              </a:solidFill>
                              <a:latin typeface="Cambria Math" panose="02040503050406030204" pitchFamily="18" charset="0"/>
                            </a:rPr>
                          </m:ctrlPr>
                        </m:sSubPr>
                        <m:e>
                          <m:acc>
                            <m:accPr>
                              <m:chr m:val="̅"/>
                              <m:ctrlPr>
                                <a:rPr lang="en-US" sz="1400" i="1">
                                  <a:solidFill>
                                    <a:schemeClr val="tx2"/>
                                  </a:solidFill>
                                  <a:latin typeface="Cambria Math" panose="02040503050406030204" pitchFamily="18" charset="0"/>
                                </a:rPr>
                              </m:ctrlPr>
                            </m:accPr>
                            <m:e>
                              <m:r>
                                <a:rPr lang="en-US" sz="1400" i="1">
                                  <a:solidFill>
                                    <a:schemeClr val="tx2"/>
                                  </a:solidFill>
                                  <a:latin typeface="Cambria Math" panose="02040503050406030204" pitchFamily="18" charset="0"/>
                                </a:rPr>
                                <m:t>𝑌</m:t>
                              </m:r>
                            </m:e>
                          </m:acc>
                        </m:e>
                        <m:sub>
                          <m:r>
                            <a:rPr lang="en-US" sz="1400" i="1">
                              <a:solidFill>
                                <a:schemeClr val="tx2"/>
                              </a:solidFill>
                              <a:latin typeface="Cambria Math" panose="02040503050406030204" pitchFamily="18" charset="0"/>
                            </a:rPr>
                            <m:t>2</m:t>
                          </m:r>
                        </m:sub>
                      </m:sSub>
                      <m:r>
                        <a:rPr lang="en-US" sz="1400" i="1">
                          <a:solidFill>
                            <a:schemeClr val="tx2"/>
                          </a:solidFill>
                          <a:latin typeface="Cambria Math" panose="02040503050406030204" pitchFamily="18" charset="0"/>
                        </a:rPr>
                        <m:t>=</m:t>
                      </m:r>
                      <m:r>
                        <a:rPr lang="en-US" sz="1400" b="0" i="1" smtClean="0">
                          <a:solidFill>
                            <a:schemeClr val="tx2"/>
                          </a:solidFill>
                          <a:latin typeface="Cambria Math" panose="02040503050406030204" pitchFamily="18" charset="0"/>
                        </a:rPr>
                        <m:t>1.5</m:t>
                      </m:r>
                    </m:oMath>
                  </m:oMathPara>
                </a14:m>
                <a:endParaRPr lang="en-US" sz="1400" dirty="0">
                  <a:solidFill>
                    <a:schemeClr val="tx2"/>
                  </a:solidFill>
                  <a:latin typeface="+mj-lt"/>
                </a:endParaRPr>
              </a:p>
            </p:txBody>
          </p:sp>
        </mc:Choice>
        <mc:Fallback xmlns="">
          <p:sp>
            <p:nvSpPr>
              <p:cNvPr id="12" name="TextBox 11">
                <a:extLst>
                  <a:ext uri="{FF2B5EF4-FFF2-40B4-BE49-F238E27FC236}">
                    <a16:creationId xmlns:a16="http://schemas.microsoft.com/office/drawing/2014/main" id="{A1FC88EB-D040-484F-BD1D-1393484E36EE}"/>
                  </a:ext>
                </a:extLst>
              </p:cNvPr>
              <p:cNvSpPr txBox="1">
                <a:spLocks noRot="1" noChangeAspect="1" noMove="1" noResize="1" noEditPoints="1" noAdjustHandles="1" noChangeArrowheads="1" noChangeShapeType="1" noTextEdit="1"/>
              </p:cNvSpPr>
              <p:nvPr/>
            </p:nvSpPr>
            <p:spPr>
              <a:xfrm>
                <a:off x="8143314" y="2872360"/>
                <a:ext cx="670889" cy="215444"/>
              </a:xfrm>
              <a:prstGeom prst="rect">
                <a:avLst/>
              </a:prstGeom>
              <a:blipFill>
                <a:blip r:embed="rId4"/>
                <a:stretch>
                  <a:fillRect l="-5455" r="-5455" b="-13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F4B837EC-E04D-4F35-A346-AB20B45CD43C}"/>
                  </a:ext>
                </a:extLst>
              </p:cNvPr>
              <p:cNvSpPr txBox="1"/>
              <p:nvPr/>
            </p:nvSpPr>
            <p:spPr>
              <a:xfrm>
                <a:off x="6556749" y="2836159"/>
                <a:ext cx="119263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𝑋</m:t>
                      </m:r>
                      <m:r>
                        <a:rPr lang="en-US" b="0" i="1" smtClean="0">
                          <a:solidFill>
                            <a:srgbClr val="FF0000"/>
                          </a:solidFill>
                          <a:latin typeface="Cambria Math" panose="02040503050406030204" pitchFamily="18" charset="0"/>
                        </a:rPr>
                        <m:t>5</m:t>
                      </m:r>
                      <m:r>
                        <a:rPr lang="en-US" i="1">
                          <a:solidFill>
                            <a:srgbClr val="FF0000"/>
                          </a:solidFill>
                          <a:latin typeface="Cambria Math" panose="02040503050406030204" pitchFamily="18" charset="0"/>
                        </a:rPr>
                        <m:t>≤0.0</m:t>
                      </m:r>
                      <m:r>
                        <a:rPr lang="en-US" b="0" i="1" smtClean="0">
                          <a:solidFill>
                            <a:srgbClr val="FF0000"/>
                          </a:solidFill>
                          <a:latin typeface="Cambria Math" panose="02040503050406030204" pitchFamily="18" charset="0"/>
                        </a:rPr>
                        <m:t>13</m:t>
                      </m:r>
                    </m:oMath>
                  </m:oMathPara>
                </a14:m>
                <a:endParaRPr lang="en-US" dirty="0">
                  <a:solidFill>
                    <a:srgbClr val="FF0000"/>
                  </a:solidFill>
                  <a:latin typeface="+mj-lt"/>
                </a:endParaRPr>
              </a:p>
            </p:txBody>
          </p:sp>
        </mc:Choice>
        <mc:Fallback xmlns="">
          <p:sp>
            <p:nvSpPr>
              <p:cNvPr id="13" name="TextBox 12">
                <a:extLst>
                  <a:ext uri="{FF2B5EF4-FFF2-40B4-BE49-F238E27FC236}">
                    <a16:creationId xmlns:a16="http://schemas.microsoft.com/office/drawing/2014/main" id="{F4B837EC-E04D-4F35-A346-AB20B45CD43C}"/>
                  </a:ext>
                </a:extLst>
              </p:cNvPr>
              <p:cNvSpPr txBox="1">
                <a:spLocks noRot="1" noChangeAspect="1" noMove="1" noResize="1" noEditPoints="1" noAdjustHandles="1" noChangeArrowheads="1" noChangeShapeType="1" noTextEdit="1"/>
              </p:cNvSpPr>
              <p:nvPr/>
            </p:nvSpPr>
            <p:spPr>
              <a:xfrm>
                <a:off x="6556749" y="2836159"/>
                <a:ext cx="1192634" cy="276999"/>
              </a:xfrm>
              <a:prstGeom prst="rect">
                <a:avLst/>
              </a:prstGeom>
              <a:blipFill>
                <a:blip r:embed="rId5"/>
                <a:stretch>
                  <a:fillRect l="-4615" r="-4615" b="-10870"/>
                </a:stretch>
              </a:blipFill>
            </p:spPr>
            <p:txBody>
              <a:bodyPr/>
              <a:lstStyle/>
              <a:p>
                <a:r>
                  <a:rPr lang="en-US">
                    <a:noFill/>
                  </a:rPr>
                  <a:t> </a:t>
                </a:r>
              </a:p>
            </p:txBody>
          </p:sp>
        </mc:Fallback>
      </mc:AlternateContent>
      <p:pic>
        <p:nvPicPr>
          <p:cNvPr id="14" name="Picture 13">
            <a:extLst>
              <a:ext uri="{FF2B5EF4-FFF2-40B4-BE49-F238E27FC236}">
                <a16:creationId xmlns:a16="http://schemas.microsoft.com/office/drawing/2014/main" id="{DEC2E522-68A9-40BF-BD4E-E563AA1776B2}"/>
              </a:ext>
            </a:extLst>
          </p:cNvPr>
          <p:cNvPicPr>
            <a:picLocks noChangeAspect="1"/>
          </p:cNvPicPr>
          <p:nvPr/>
        </p:nvPicPr>
        <p:blipFill>
          <a:blip r:embed="rId6"/>
          <a:stretch>
            <a:fillRect/>
          </a:stretch>
        </p:blipFill>
        <p:spPr>
          <a:xfrm>
            <a:off x="4159493" y="3332328"/>
            <a:ext cx="6016090" cy="3277858"/>
          </a:xfrm>
          <a:prstGeom prst="rect">
            <a:avLst/>
          </a:prstGeom>
        </p:spPr>
      </p:pic>
      <p:cxnSp>
        <p:nvCxnSpPr>
          <p:cNvPr id="15" name="Straight Connector 14">
            <a:extLst>
              <a:ext uri="{FF2B5EF4-FFF2-40B4-BE49-F238E27FC236}">
                <a16:creationId xmlns:a16="http://schemas.microsoft.com/office/drawing/2014/main" id="{A4A4E1C9-7A5F-42EF-BCA3-37D53FF082C3}"/>
              </a:ext>
            </a:extLst>
          </p:cNvPr>
          <p:cNvCxnSpPr/>
          <p:nvPr/>
        </p:nvCxnSpPr>
        <p:spPr>
          <a:xfrm>
            <a:off x="6707339" y="5004969"/>
            <a:ext cx="460199"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pic>
        <p:nvPicPr>
          <p:cNvPr id="16" name="Picture 15">
            <a:extLst>
              <a:ext uri="{FF2B5EF4-FFF2-40B4-BE49-F238E27FC236}">
                <a16:creationId xmlns:a16="http://schemas.microsoft.com/office/drawing/2014/main" id="{D4355B6B-AE54-40D0-B996-9E5958F3CE69}"/>
              </a:ext>
            </a:extLst>
          </p:cNvPr>
          <p:cNvPicPr>
            <a:picLocks noChangeAspect="1"/>
          </p:cNvPicPr>
          <p:nvPr/>
        </p:nvPicPr>
        <p:blipFill>
          <a:blip r:embed="rId7"/>
          <a:stretch>
            <a:fillRect/>
          </a:stretch>
        </p:blipFill>
        <p:spPr>
          <a:xfrm rot="5400000">
            <a:off x="6754406" y="790849"/>
            <a:ext cx="631327" cy="3488267"/>
          </a:xfrm>
          <a:prstGeom prst="rect">
            <a:avLst/>
          </a:prstGeom>
        </p:spPr>
      </p:pic>
      <p:cxnSp>
        <p:nvCxnSpPr>
          <p:cNvPr id="17" name="Straight Connector 16">
            <a:extLst>
              <a:ext uri="{FF2B5EF4-FFF2-40B4-BE49-F238E27FC236}">
                <a16:creationId xmlns:a16="http://schemas.microsoft.com/office/drawing/2014/main" id="{D5F722EE-1086-4B88-A6EE-7F54463B4493}"/>
              </a:ext>
            </a:extLst>
          </p:cNvPr>
          <p:cNvCxnSpPr>
            <a:cxnSpLocks/>
          </p:cNvCxnSpPr>
          <p:nvPr/>
        </p:nvCxnSpPr>
        <p:spPr>
          <a:xfrm>
            <a:off x="7041495" y="2244470"/>
            <a:ext cx="0" cy="512166"/>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18" name="Straight Connector 17">
            <a:extLst>
              <a:ext uri="{FF2B5EF4-FFF2-40B4-BE49-F238E27FC236}">
                <a16:creationId xmlns:a16="http://schemas.microsoft.com/office/drawing/2014/main" id="{C29738A3-9840-4D59-94C3-7CE887272ACF}"/>
              </a:ext>
            </a:extLst>
          </p:cNvPr>
          <p:cNvCxnSpPr/>
          <p:nvPr/>
        </p:nvCxnSpPr>
        <p:spPr>
          <a:xfrm>
            <a:off x="4299540" y="5183493"/>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19" name="Straight Connector 18">
            <a:extLst>
              <a:ext uri="{FF2B5EF4-FFF2-40B4-BE49-F238E27FC236}">
                <a16:creationId xmlns:a16="http://schemas.microsoft.com/office/drawing/2014/main" id="{7E2CC61F-E973-4824-8EDA-DA7CDF2B48C7}"/>
              </a:ext>
            </a:extLst>
          </p:cNvPr>
          <p:cNvCxnSpPr/>
          <p:nvPr/>
        </p:nvCxnSpPr>
        <p:spPr>
          <a:xfrm>
            <a:off x="4890849" y="5064188"/>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0" name="Straight Connector 19">
            <a:extLst>
              <a:ext uri="{FF2B5EF4-FFF2-40B4-BE49-F238E27FC236}">
                <a16:creationId xmlns:a16="http://schemas.microsoft.com/office/drawing/2014/main" id="{A8D29A9D-3116-4781-A907-FA829F9BC376}"/>
              </a:ext>
            </a:extLst>
          </p:cNvPr>
          <p:cNvCxnSpPr/>
          <p:nvPr/>
        </p:nvCxnSpPr>
        <p:spPr>
          <a:xfrm>
            <a:off x="5502186" y="4996260"/>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1" name="Straight Connector 20">
            <a:extLst>
              <a:ext uri="{FF2B5EF4-FFF2-40B4-BE49-F238E27FC236}">
                <a16:creationId xmlns:a16="http://schemas.microsoft.com/office/drawing/2014/main" id="{740B239F-B508-4D38-9939-4F7DB12950CF}"/>
              </a:ext>
            </a:extLst>
          </p:cNvPr>
          <p:cNvCxnSpPr/>
          <p:nvPr/>
        </p:nvCxnSpPr>
        <p:spPr>
          <a:xfrm>
            <a:off x="6103074" y="5220943"/>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2" name="Straight Connector 21">
            <a:extLst>
              <a:ext uri="{FF2B5EF4-FFF2-40B4-BE49-F238E27FC236}">
                <a16:creationId xmlns:a16="http://schemas.microsoft.com/office/drawing/2014/main" id="{78B5747F-D109-4676-AF9E-E18AD850BA3B}"/>
              </a:ext>
            </a:extLst>
          </p:cNvPr>
          <p:cNvCxnSpPr/>
          <p:nvPr/>
        </p:nvCxnSpPr>
        <p:spPr>
          <a:xfrm>
            <a:off x="7310948" y="4788129"/>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3" name="Straight Connector 22">
            <a:extLst>
              <a:ext uri="{FF2B5EF4-FFF2-40B4-BE49-F238E27FC236}">
                <a16:creationId xmlns:a16="http://schemas.microsoft.com/office/drawing/2014/main" id="{6B04DADC-1FA6-44C4-9E31-54F8DCE80611}"/>
              </a:ext>
            </a:extLst>
          </p:cNvPr>
          <p:cNvCxnSpPr/>
          <p:nvPr/>
        </p:nvCxnSpPr>
        <p:spPr>
          <a:xfrm>
            <a:off x="7907487" y="4961429"/>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4" name="Straight Connector 23">
            <a:extLst>
              <a:ext uri="{FF2B5EF4-FFF2-40B4-BE49-F238E27FC236}">
                <a16:creationId xmlns:a16="http://schemas.microsoft.com/office/drawing/2014/main" id="{BB104EC8-C553-44EE-8C22-2FB3E6A0FC33}"/>
              </a:ext>
            </a:extLst>
          </p:cNvPr>
          <p:cNvCxnSpPr/>
          <p:nvPr/>
        </p:nvCxnSpPr>
        <p:spPr>
          <a:xfrm>
            <a:off x="8514474" y="4889148"/>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5" name="Straight Connector 24">
            <a:extLst>
              <a:ext uri="{FF2B5EF4-FFF2-40B4-BE49-F238E27FC236}">
                <a16:creationId xmlns:a16="http://schemas.microsoft.com/office/drawing/2014/main" id="{6163CA56-3918-425F-9FFD-128436BC0C75}"/>
              </a:ext>
            </a:extLst>
          </p:cNvPr>
          <p:cNvCxnSpPr/>
          <p:nvPr/>
        </p:nvCxnSpPr>
        <p:spPr>
          <a:xfrm>
            <a:off x="9116236" y="4754170"/>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cxnSp>
        <p:nvCxnSpPr>
          <p:cNvPr id="26" name="Straight Connector 25">
            <a:extLst>
              <a:ext uri="{FF2B5EF4-FFF2-40B4-BE49-F238E27FC236}">
                <a16:creationId xmlns:a16="http://schemas.microsoft.com/office/drawing/2014/main" id="{E84FD1C7-B0E1-4825-AF91-6AF2928FC6FA}"/>
              </a:ext>
            </a:extLst>
          </p:cNvPr>
          <p:cNvCxnSpPr/>
          <p:nvPr/>
        </p:nvCxnSpPr>
        <p:spPr>
          <a:xfrm>
            <a:off x="9712770" y="4755044"/>
            <a:ext cx="460199" cy="0"/>
          </a:xfrm>
          <a:prstGeom prst="line">
            <a:avLst/>
          </a:prstGeom>
          <a:ln>
            <a:solidFill>
              <a:srgbClr val="FF0000">
                <a:alpha val="41000"/>
              </a:srgbClr>
            </a:solidFill>
          </a:ln>
        </p:spPr>
        <p:style>
          <a:lnRef idx="3">
            <a:schemeClr val="dk1"/>
          </a:lnRef>
          <a:fillRef idx="0">
            <a:schemeClr val="dk1"/>
          </a:fillRef>
          <a:effectRef idx="2">
            <a:schemeClr val="dk1"/>
          </a:effectRef>
          <a:fontRef idx="minor">
            <a:schemeClr val="tx1"/>
          </a:fontRef>
        </p:style>
      </p:cxnSp>
      <p:sp>
        <p:nvSpPr>
          <p:cNvPr id="27" name="TextBox 26">
            <a:extLst>
              <a:ext uri="{FF2B5EF4-FFF2-40B4-BE49-F238E27FC236}">
                <a16:creationId xmlns:a16="http://schemas.microsoft.com/office/drawing/2014/main" id="{C2C236FC-AAF1-4C14-A72C-440514A9C541}"/>
              </a:ext>
            </a:extLst>
          </p:cNvPr>
          <p:cNvSpPr txBox="1"/>
          <p:nvPr/>
        </p:nvSpPr>
        <p:spPr>
          <a:xfrm>
            <a:off x="296812" y="2496482"/>
            <a:ext cx="3187834" cy="34163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r>
              <a:rPr lang="en-US" sz="3600" dirty="0">
                <a:latin typeface="+mj-lt"/>
              </a:rPr>
              <a:t>Recursive Partitioning</a:t>
            </a:r>
          </a:p>
          <a:p>
            <a:endParaRPr lang="en-US" sz="3600" dirty="0">
              <a:latin typeface="+mj-lt"/>
            </a:endParaRPr>
          </a:p>
          <a:p>
            <a:r>
              <a:rPr lang="en-US" sz="3600" dirty="0">
                <a:latin typeface="+mj-lt"/>
              </a:rPr>
              <a:t>(Classification and Regression Trees)</a:t>
            </a:r>
          </a:p>
        </p:txBody>
      </p:sp>
    </p:spTree>
    <p:extLst>
      <p:ext uri="{BB962C8B-B14F-4D97-AF65-F5344CB8AC3E}">
        <p14:creationId xmlns:p14="http://schemas.microsoft.com/office/powerpoint/2010/main" val="2451919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ontent Placeholder 2"/>
          <p:cNvSpPr txBox="1">
            <a:spLocks/>
          </p:cNvSpPr>
          <p:nvPr/>
        </p:nvSpPr>
        <p:spPr>
          <a:xfrm>
            <a:off x="1280161" y="660032"/>
            <a:ext cx="5104964" cy="1442721"/>
          </a:xfrm>
          <a:prstGeom prst="homePlate">
            <a:avLst>
              <a:gd name="adj" fmla="val 24577"/>
            </a:avLst>
          </a:prstGeom>
          <a:ln/>
        </p:spPr>
        <p:style>
          <a:lnRef idx="0">
            <a:schemeClr val="accent3"/>
          </a:lnRef>
          <a:fillRef idx="3">
            <a:schemeClr val="accent3"/>
          </a:fillRef>
          <a:effectRef idx="3">
            <a:schemeClr val="accent3"/>
          </a:effectRef>
          <a:fontRef idx="minor">
            <a:schemeClr val="lt1"/>
          </a:fontRef>
        </p:style>
        <p:txBody>
          <a:bodyPr anchor="ctr" anchorCtr="0">
            <a:noAutofit/>
          </a:bodyPr>
          <a:lstStyle>
            <a:defPPr>
              <a:defRPr lang="en-US"/>
            </a:defPPr>
            <a:lvl1pPr marL="173736" indent="-173736" eaLnBrk="1" hangingPunct="1">
              <a:spcBef>
                <a:spcPts val="600"/>
              </a:spcBef>
              <a:buClr>
                <a:schemeClr val="tx2"/>
              </a:buClr>
              <a:buFont typeface="Arial" charset="0"/>
              <a:buChar char="•"/>
              <a:defRPr sz="1600">
                <a:solidFill>
                  <a:srgbClr val="414343"/>
                </a:solidFill>
                <a:latin typeface="+mn-lt"/>
              </a:defRPr>
            </a:lvl1pPr>
            <a:lvl2pPr indent="-234950" eaLnBrk="1" hangingPunct="1">
              <a:spcBef>
                <a:spcPct val="20000"/>
              </a:spcBef>
              <a:buFont typeface="Lucida Grande" charset="0"/>
              <a:buChar char="&gt;"/>
              <a:defRPr sz="1600">
                <a:solidFill>
                  <a:srgbClr val="414343"/>
                </a:solidFill>
                <a:latin typeface="+mn-lt"/>
              </a:defRPr>
            </a:lvl2pPr>
            <a:lvl3pPr marL="679450" indent="-222250" eaLnBrk="1" hangingPunct="1">
              <a:spcBef>
                <a:spcPct val="20000"/>
              </a:spcBef>
              <a:buFont typeface="Lucida Grande" charset="0"/>
              <a:buChar char="-"/>
              <a:defRPr sz="1600">
                <a:solidFill>
                  <a:srgbClr val="414343"/>
                </a:solidFill>
                <a:latin typeface="+mn-lt"/>
              </a:defRPr>
            </a:lvl3pPr>
            <a:lvl4pPr marL="914400" indent="-234950" eaLnBrk="1" hangingPunct="1">
              <a:spcBef>
                <a:spcPct val="20000"/>
              </a:spcBef>
              <a:buFont typeface="Arial" charset="0"/>
              <a:buChar char="»"/>
              <a:defRPr sz="1600">
                <a:solidFill>
                  <a:srgbClr val="414343"/>
                </a:solidFill>
                <a:latin typeface="+mn-lt"/>
              </a:defRPr>
            </a:lvl4pPr>
            <a:lvl5pPr marL="1144588" indent="-222250" eaLnBrk="1" hangingPunct="1">
              <a:spcBef>
                <a:spcPct val="20000"/>
              </a:spcBef>
              <a:buFont typeface="Arial" charset="0"/>
              <a:buChar char="•"/>
              <a:defRPr sz="1600">
                <a:solidFill>
                  <a:srgbClr val="414343"/>
                </a:solidFill>
                <a:latin typeface="+mn-lt"/>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buNone/>
            </a:pPr>
            <a:r>
              <a:rPr lang="en-US" sz="1800" dirty="0">
                <a:latin typeface="+mj-lt"/>
              </a:rPr>
              <a:t>The algorithm proceeds recursively by finding the best splits and best variable for each subgroup (child node) created in the previous step</a:t>
            </a:r>
          </a:p>
        </p:txBody>
      </p:sp>
      <p:pic>
        <p:nvPicPr>
          <p:cNvPr id="3" name="Picture 2">
            <a:extLst>
              <a:ext uri="{FF2B5EF4-FFF2-40B4-BE49-F238E27FC236}">
                <a16:creationId xmlns:a16="http://schemas.microsoft.com/office/drawing/2014/main" id="{0FD83B07-AB4B-48CE-8C2F-7C99A758B7E6}"/>
              </a:ext>
            </a:extLst>
          </p:cNvPr>
          <p:cNvPicPr>
            <a:picLocks noChangeAspect="1"/>
          </p:cNvPicPr>
          <p:nvPr/>
        </p:nvPicPr>
        <p:blipFill>
          <a:blip r:embed="rId2"/>
          <a:stretch>
            <a:fillRect/>
          </a:stretch>
        </p:blipFill>
        <p:spPr>
          <a:xfrm>
            <a:off x="6799422" y="1211484"/>
            <a:ext cx="3958202" cy="3460620"/>
          </a:xfrm>
          <a:prstGeom prst="rect">
            <a:avLst/>
          </a:prstGeom>
        </p:spPr>
      </p:pic>
      <p:pic>
        <p:nvPicPr>
          <p:cNvPr id="6" name="Picture 5">
            <a:extLst>
              <a:ext uri="{FF2B5EF4-FFF2-40B4-BE49-F238E27FC236}">
                <a16:creationId xmlns:a16="http://schemas.microsoft.com/office/drawing/2014/main" id="{525F214A-45FF-42F5-8CC4-481E40D28B93}"/>
              </a:ext>
            </a:extLst>
          </p:cNvPr>
          <p:cNvPicPr>
            <a:picLocks noChangeAspect="1"/>
          </p:cNvPicPr>
          <p:nvPr/>
        </p:nvPicPr>
        <p:blipFill>
          <a:blip r:embed="rId3"/>
          <a:stretch>
            <a:fillRect/>
          </a:stretch>
        </p:blipFill>
        <p:spPr>
          <a:xfrm>
            <a:off x="1317646" y="2588161"/>
            <a:ext cx="4153836" cy="4012664"/>
          </a:xfrm>
          <a:prstGeom prst="rect">
            <a:avLst/>
          </a:prstGeom>
        </p:spPr>
      </p:pic>
      <p:cxnSp>
        <p:nvCxnSpPr>
          <p:cNvPr id="9" name="Straight Connector 8">
            <a:extLst>
              <a:ext uri="{FF2B5EF4-FFF2-40B4-BE49-F238E27FC236}">
                <a16:creationId xmlns:a16="http://schemas.microsoft.com/office/drawing/2014/main" id="{2672F903-413D-48F5-9AAE-3304565D3F6C}"/>
              </a:ext>
            </a:extLst>
          </p:cNvPr>
          <p:cNvCxnSpPr/>
          <p:nvPr/>
        </p:nvCxnSpPr>
        <p:spPr>
          <a:xfrm flipV="1">
            <a:off x="3634713" y="2619375"/>
            <a:ext cx="0" cy="3702050"/>
          </a:xfrm>
          <a:prstGeom prst="line">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Straight Connector 14">
            <a:extLst>
              <a:ext uri="{FF2B5EF4-FFF2-40B4-BE49-F238E27FC236}">
                <a16:creationId xmlns:a16="http://schemas.microsoft.com/office/drawing/2014/main" id="{BADF59F1-0C80-4570-A697-CA90E0CD18E8}"/>
              </a:ext>
            </a:extLst>
          </p:cNvPr>
          <p:cNvCxnSpPr/>
          <p:nvPr/>
        </p:nvCxnSpPr>
        <p:spPr>
          <a:xfrm>
            <a:off x="1577975" y="4289425"/>
            <a:ext cx="20574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DF0211-0236-416E-AE39-903FE386B4EC}"/>
              </a:ext>
            </a:extLst>
          </p:cNvPr>
          <p:cNvCxnSpPr>
            <a:cxnSpLocks/>
          </p:cNvCxnSpPr>
          <p:nvPr/>
        </p:nvCxnSpPr>
        <p:spPr>
          <a:xfrm>
            <a:off x="3629031" y="4319062"/>
            <a:ext cx="1757892" cy="0"/>
          </a:xfrm>
          <a:prstGeom prst="line">
            <a:avLst/>
          </a:prstGeom>
          <a:ln w="19050">
            <a:solidFill>
              <a:srgbClr val="D51BB6"/>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A5FA76A-16A3-4BBB-A7A9-1CF2CB4C125C}"/>
              </a:ext>
            </a:extLst>
          </p:cNvPr>
          <p:cNvSpPr txBox="1"/>
          <p:nvPr/>
        </p:nvSpPr>
        <p:spPr>
          <a:xfrm>
            <a:off x="2267677" y="3220556"/>
            <a:ext cx="710451" cy="369332"/>
          </a:xfrm>
          <a:prstGeom prst="rect">
            <a:avLst/>
          </a:prstGeom>
          <a:noFill/>
        </p:spPr>
        <p:txBody>
          <a:bodyPr wrap="none" rtlCol="0">
            <a:spAutoFit/>
          </a:bodyPr>
          <a:lstStyle/>
          <a:p>
            <a:r>
              <a:rPr lang="en-US" dirty="0">
                <a:solidFill>
                  <a:schemeClr val="tx2">
                    <a:lumMod val="10000"/>
                  </a:schemeClr>
                </a:solidFill>
              </a:rPr>
              <a:t>0.018</a:t>
            </a:r>
          </a:p>
        </p:txBody>
      </p:sp>
      <p:sp>
        <p:nvSpPr>
          <p:cNvPr id="40" name="TextBox 39">
            <a:extLst>
              <a:ext uri="{FF2B5EF4-FFF2-40B4-BE49-F238E27FC236}">
                <a16:creationId xmlns:a16="http://schemas.microsoft.com/office/drawing/2014/main" id="{542341C6-50A4-4A4F-98E4-65EEC3926FCA}"/>
              </a:ext>
            </a:extLst>
          </p:cNvPr>
          <p:cNvSpPr txBox="1"/>
          <p:nvPr/>
        </p:nvSpPr>
        <p:spPr>
          <a:xfrm>
            <a:off x="2384697" y="4988963"/>
            <a:ext cx="476412" cy="369332"/>
          </a:xfrm>
          <a:prstGeom prst="rect">
            <a:avLst/>
          </a:prstGeom>
          <a:noFill/>
        </p:spPr>
        <p:txBody>
          <a:bodyPr wrap="none" rtlCol="0">
            <a:spAutoFit/>
          </a:bodyPr>
          <a:lstStyle/>
          <a:p>
            <a:r>
              <a:rPr lang="en-US" dirty="0">
                <a:solidFill>
                  <a:schemeClr val="tx2">
                    <a:lumMod val="10000"/>
                  </a:schemeClr>
                </a:solidFill>
              </a:rPr>
              <a:t>1.0</a:t>
            </a:r>
          </a:p>
        </p:txBody>
      </p:sp>
      <p:sp>
        <p:nvSpPr>
          <p:cNvPr id="41" name="TextBox 40">
            <a:extLst>
              <a:ext uri="{FF2B5EF4-FFF2-40B4-BE49-F238E27FC236}">
                <a16:creationId xmlns:a16="http://schemas.microsoft.com/office/drawing/2014/main" id="{F9E70F77-29AE-44AA-8A98-F53337857874}"/>
              </a:ext>
            </a:extLst>
          </p:cNvPr>
          <p:cNvSpPr txBox="1"/>
          <p:nvPr/>
        </p:nvSpPr>
        <p:spPr>
          <a:xfrm>
            <a:off x="4291299" y="5117070"/>
            <a:ext cx="476412" cy="369332"/>
          </a:xfrm>
          <a:prstGeom prst="rect">
            <a:avLst/>
          </a:prstGeom>
          <a:noFill/>
        </p:spPr>
        <p:txBody>
          <a:bodyPr wrap="none" rtlCol="0">
            <a:spAutoFit/>
          </a:bodyPr>
          <a:lstStyle/>
          <a:p>
            <a:r>
              <a:rPr lang="en-US" dirty="0">
                <a:solidFill>
                  <a:schemeClr val="tx2">
                    <a:lumMod val="10000"/>
                  </a:schemeClr>
                </a:solidFill>
              </a:rPr>
              <a:t>1.1</a:t>
            </a:r>
          </a:p>
        </p:txBody>
      </p:sp>
      <p:sp>
        <p:nvSpPr>
          <p:cNvPr id="42" name="TextBox 41">
            <a:extLst>
              <a:ext uri="{FF2B5EF4-FFF2-40B4-BE49-F238E27FC236}">
                <a16:creationId xmlns:a16="http://schemas.microsoft.com/office/drawing/2014/main" id="{4BFE8FC0-7A27-43EF-888F-43395BD5019E}"/>
              </a:ext>
            </a:extLst>
          </p:cNvPr>
          <p:cNvSpPr txBox="1"/>
          <p:nvPr/>
        </p:nvSpPr>
        <p:spPr>
          <a:xfrm>
            <a:off x="4268379" y="3187707"/>
            <a:ext cx="476412" cy="369332"/>
          </a:xfrm>
          <a:prstGeom prst="rect">
            <a:avLst/>
          </a:prstGeom>
          <a:noFill/>
        </p:spPr>
        <p:txBody>
          <a:bodyPr wrap="none" rtlCol="0">
            <a:spAutoFit/>
          </a:bodyPr>
          <a:lstStyle/>
          <a:p>
            <a:r>
              <a:rPr lang="en-US" dirty="0">
                <a:solidFill>
                  <a:schemeClr val="tx2">
                    <a:lumMod val="10000"/>
                  </a:schemeClr>
                </a:solidFill>
              </a:rPr>
              <a:t>2.4</a:t>
            </a:r>
          </a:p>
        </p:txBody>
      </p:sp>
      <p:cxnSp>
        <p:nvCxnSpPr>
          <p:cNvPr id="21" name="Straight Arrow Connector 20">
            <a:extLst>
              <a:ext uri="{FF2B5EF4-FFF2-40B4-BE49-F238E27FC236}">
                <a16:creationId xmlns:a16="http://schemas.microsoft.com/office/drawing/2014/main" id="{4A5BF885-59B4-4A68-AA02-CCBD568AB476}"/>
              </a:ext>
            </a:extLst>
          </p:cNvPr>
          <p:cNvCxnSpPr>
            <a:cxnSpLocks/>
          </p:cNvCxnSpPr>
          <p:nvPr/>
        </p:nvCxnSpPr>
        <p:spPr>
          <a:xfrm flipH="1">
            <a:off x="3702375" y="2047864"/>
            <a:ext cx="4959129" cy="1203489"/>
          </a:xfrm>
          <a:prstGeom prst="straightConnector1">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cxnSp>
        <p:nvCxnSpPr>
          <p:cNvPr id="45" name="Straight Arrow Connector 44">
            <a:extLst>
              <a:ext uri="{FF2B5EF4-FFF2-40B4-BE49-F238E27FC236}">
                <a16:creationId xmlns:a16="http://schemas.microsoft.com/office/drawing/2014/main" id="{22362582-2AB3-4914-A76A-A751816BD63B}"/>
              </a:ext>
            </a:extLst>
          </p:cNvPr>
          <p:cNvCxnSpPr>
            <a:cxnSpLocks/>
          </p:cNvCxnSpPr>
          <p:nvPr/>
        </p:nvCxnSpPr>
        <p:spPr>
          <a:xfrm flipH="1">
            <a:off x="2560321" y="3170462"/>
            <a:ext cx="5333375" cy="1118963"/>
          </a:xfrm>
          <a:prstGeom prst="straightConnector1">
            <a:avLst/>
          </a:prstGeom>
          <a:ln>
            <a:solidFill>
              <a:srgbClr val="00B0F0"/>
            </a:solidFill>
            <a:tailEnd type="triangle"/>
          </a:ln>
        </p:spPr>
        <p:style>
          <a:lnRef idx="3">
            <a:schemeClr val="accent2"/>
          </a:lnRef>
          <a:fillRef idx="0">
            <a:schemeClr val="accent2"/>
          </a:fillRef>
          <a:effectRef idx="2">
            <a:schemeClr val="accent2"/>
          </a:effectRef>
          <a:fontRef idx="minor">
            <a:schemeClr val="tx1"/>
          </a:fontRef>
        </p:style>
      </p:cxnSp>
      <p:cxnSp>
        <p:nvCxnSpPr>
          <p:cNvPr id="47" name="Straight Arrow Connector 46">
            <a:extLst>
              <a:ext uri="{FF2B5EF4-FFF2-40B4-BE49-F238E27FC236}">
                <a16:creationId xmlns:a16="http://schemas.microsoft.com/office/drawing/2014/main" id="{CFA5F96E-8299-42CE-BBF1-31B700633A8D}"/>
              </a:ext>
            </a:extLst>
          </p:cNvPr>
          <p:cNvCxnSpPr>
            <a:cxnSpLocks/>
          </p:cNvCxnSpPr>
          <p:nvPr/>
        </p:nvCxnSpPr>
        <p:spPr>
          <a:xfrm flipH="1">
            <a:off x="5079384" y="3217877"/>
            <a:ext cx="4463636" cy="1071548"/>
          </a:xfrm>
          <a:prstGeom prst="straightConnector1">
            <a:avLst/>
          </a:prstGeom>
          <a:ln>
            <a:solidFill>
              <a:srgbClr val="D51BB6"/>
            </a:solidFill>
            <a:tailEnd type="triangle"/>
          </a:ln>
        </p:spPr>
        <p:style>
          <a:lnRef idx="3">
            <a:schemeClr val="accent2"/>
          </a:lnRef>
          <a:fillRef idx="0">
            <a:schemeClr val="accent2"/>
          </a:fillRef>
          <a:effectRef idx="2">
            <a:schemeClr val="accent2"/>
          </a:effectRef>
          <a:fontRef idx="minor">
            <a:schemeClr val="tx1"/>
          </a:fontRef>
        </p:style>
      </p:cxnSp>
      <p:sp>
        <p:nvSpPr>
          <p:cNvPr id="52" name="TextBox 51">
            <a:extLst>
              <a:ext uri="{FF2B5EF4-FFF2-40B4-BE49-F238E27FC236}">
                <a16:creationId xmlns:a16="http://schemas.microsoft.com/office/drawing/2014/main" id="{884BAEF9-D559-4812-88AC-C79C2C94B427}"/>
              </a:ext>
            </a:extLst>
          </p:cNvPr>
          <p:cNvSpPr txBox="1"/>
          <p:nvPr/>
        </p:nvSpPr>
        <p:spPr>
          <a:xfrm>
            <a:off x="10959270" y="1456422"/>
            <a:ext cx="1154740" cy="923330"/>
          </a:xfrm>
          <a:prstGeom prst="rect">
            <a:avLst/>
          </a:prstGeom>
          <a:noFill/>
        </p:spPr>
        <p:txBody>
          <a:bodyPr wrap="none" rtlCol="0">
            <a:spAutoFit/>
          </a:bodyPr>
          <a:lstStyle/>
          <a:p>
            <a:r>
              <a:rPr lang="en-US" b="1" dirty="0">
                <a:latin typeface="+mj-lt"/>
              </a:rPr>
              <a:t>R package:</a:t>
            </a:r>
          </a:p>
          <a:p>
            <a:r>
              <a:rPr lang="en-US" dirty="0" err="1">
                <a:latin typeface="+mj-lt"/>
                <a:cs typeface="Courier New" panose="02070309020205020404" pitchFamily="49" charset="0"/>
              </a:rPr>
              <a:t>rpart</a:t>
            </a:r>
            <a:r>
              <a:rPr lang="en-US" dirty="0">
                <a:latin typeface="+mj-lt"/>
                <a:cs typeface="Courier New" panose="02070309020205020404" pitchFamily="49" charset="0"/>
              </a:rPr>
              <a:t>,</a:t>
            </a:r>
          </a:p>
          <a:p>
            <a:r>
              <a:rPr lang="en-US" dirty="0" err="1">
                <a:latin typeface="+mj-lt"/>
                <a:cs typeface="Courier New" panose="02070309020205020404" pitchFamily="49" charset="0"/>
              </a:rPr>
              <a:t>rpart.plot</a:t>
            </a:r>
            <a:endParaRPr lang="en-US" dirty="0">
              <a:latin typeface="+mj-lt"/>
              <a:cs typeface="Courier New" panose="02070309020205020404" pitchFamily="49" charset="0"/>
            </a:endParaRPr>
          </a:p>
        </p:txBody>
      </p:sp>
      <p:sp>
        <p:nvSpPr>
          <p:cNvPr id="54" name="TextBox 53">
            <a:extLst>
              <a:ext uri="{FF2B5EF4-FFF2-40B4-BE49-F238E27FC236}">
                <a16:creationId xmlns:a16="http://schemas.microsoft.com/office/drawing/2014/main" id="{84B15E03-9275-40CA-BF82-0F960C623B77}"/>
              </a:ext>
            </a:extLst>
          </p:cNvPr>
          <p:cNvSpPr txBox="1"/>
          <p:nvPr/>
        </p:nvSpPr>
        <p:spPr>
          <a:xfrm>
            <a:off x="1557067" y="2572462"/>
            <a:ext cx="428322" cy="369332"/>
          </a:xfrm>
          <a:prstGeom prst="rect">
            <a:avLst/>
          </a:prstGeom>
          <a:noFill/>
        </p:spPr>
        <p:txBody>
          <a:bodyPr wrap="none" rtlCol="0">
            <a:spAutoFit/>
          </a:bodyPr>
          <a:lstStyle/>
          <a:p>
            <a:r>
              <a:rPr lang="en-US" b="1" dirty="0">
                <a:solidFill>
                  <a:schemeClr val="bg1"/>
                </a:solidFill>
              </a:rPr>
              <a:t>X6</a:t>
            </a:r>
          </a:p>
        </p:txBody>
      </p:sp>
      <p:sp>
        <p:nvSpPr>
          <p:cNvPr id="55" name="TextBox 54">
            <a:extLst>
              <a:ext uri="{FF2B5EF4-FFF2-40B4-BE49-F238E27FC236}">
                <a16:creationId xmlns:a16="http://schemas.microsoft.com/office/drawing/2014/main" id="{9DAB981D-F780-437B-ACC7-8E4C750ADBF1}"/>
              </a:ext>
            </a:extLst>
          </p:cNvPr>
          <p:cNvSpPr txBox="1"/>
          <p:nvPr/>
        </p:nvSpPr>
        <p:spPr>
          <a:xfrm>
            <a:off x="4954338" y="5972961"/>
            <a:ext cx="428322" cy="369332"/>
          </a:xfrm>
          <a:prstGeom prst="rect">
            <a:avLst/>
          </a:prstGeom>
          <a:noFill/>
        </p:spPr>
        <p:txBody>
          <a:bodyPr wrap="none" rtlCol="0">
            <a:spAutoFit/>
          </a:bodyPr>
          <a:lstStyle/>
          <a:p>
            <a:r>
              <a:rPr lang="en-US" b="1" dirty="0">
                <a:solidFill>
                  <a:schemeClr val="bg1"/>
                </a:solidFill>
              </a:rPr>
              <a:t>X5</a:t>
            </a:r>
          </a:p>
        </p:txBody>
      </p:sp>
      <p:sp>
        <p:nvSpPr>
          <p:cNvPr id="56" name="Title 10">
            <a:extLst>
              <a:ext uri="{FF2B5EF4-FFF2-40B4-BE49-F238E27FC236}">
                <a16:creationId xmlns:a16="http://schemas.microsoft.com/office/drawing/2014/main" id="{7C97AA8D-1CB8-4615-80B4-05CC44DD5102}"/>
              </a:ext>
            </a:extLst>
          </p:cNvPr>
          <p:cNvSpPr>
            <a:spLocks noGrp="1"/>
          </p:cNvSpPr>
          <p:nvPr>
            <p:ph type="title"/>
          </p:nvPr>
        </p:nvSpPr>
        <p:spPr>
          <a:xfrm>
            <a:off x="8034542" y="67177"/>
            <a:ext cx="2406614" cy="873234"/>
          </a:xfrm>
        </p:spPr>
        <p:txBody>
          <a:bodyPr>
            <a:normAutofit/>
          </a:bodyPr>
          <a:lstStyle/>
          <a:p>
            <a:r>
              <a:rPr lang="en-US" sz="2800" dirty="0">
                <a:solidFill>
                  <a:srgbClr val="00B0F0"/>
                </a:solidFill>
              </a:rPr>
              <a:t>Too Small?</a:t>
            </a:r>
          </a:p>
        </p:txBody>
      </p:sp>
    </p:spTree>
    <p:extLst>
      <p:ext uri="{BB962C8B-B14F-4D97-AF65-F5344CB8AC3E}">
        <p14:creationId xmlns:p14="http://schemas.microsoft.com/office/powerpoint/2010/main" val="3965881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2CA85DE-5632-4429-B436-C53C5A4EB23E}"/>
              </a:ext>
            </a:extLst>
          </p:cNvPr>
          <p:cNvSpPr>
            <a:spLocks noGrp="1"/>
          </p:cNvSpPr>
          <p:nvPr>
            <p:ph type="title"/>
          </p:nvPr>
        </p:nvSpPr>
        <p:spPr>
          <a:xfrm>
            <a:off x="7249451" y="0"/>
            <a:ext cx="2406614" cy="873234"/>
          </a:xfrm>
        </p:spPr>
        <p:txBody>
          <a:bodyPr/>
          <a:lstStyle/>
          <a:p>
            <a:r>
              <a:rPr lang="en-US" dirty="0">
                <a:solidFill>
                  <a:srgbClr val="ED7D31"/>
                </a:solidFill>
              </a:rPr>
              <a:t>Too Big!!!</a:t>
            </a:r>
          </a:p>
        </p:txBody>
      </p:sp>
      <p:pic>
        <p:nvPicPr>
          <p:cNvPr id="14" name="Content Placeholder 13">
            <a:extLst>
              <a:ext uri="{FF2B5EF4-FFF2-40B4-BE49-F238E27FC236}">
                <a16:creationId xmlns:a16="http://schemas.microsoft.com/office/drawing/2014/main" id="{95599BDA-5445-4071-A62F-6FC2F8E8410D}"/>
              </a:ext>
            </a:extLst>
          </p:cNvPr>
          <p:cNvPicPr>
            <a:picLocks noGrp="1" noChangeAspect="1"/>
          </p:cNvPicPr>
          <p:nvPr>
            <p:ph sz="half" idx="1"/>
          </p:nvPr>
        </p:nvPicPr>
        <p:blipFill>
          <a:blip r:embed="rId2"/>
          <a:stretch>
            <a:fillRect/>
          </a:stretch>
        </p:blipFill>
        <p:spPr>
          <a:xfrm>
            <a:off x="5678025" y="831041"/>
            <a:ext cx="5356881" cy="5345922"/>
          </a:xfrm>
          <a:prstGeom prst="rect">
            <a:avLst/>
          </a:prstGeom>
        </p:spPr>
      </p:pic>
      <p:pic>
        <p:nvPicPr>
          <p:cNvPr id="3" name="Picture 2">
            <a:extLst>
              <a:ext uri="{FF2B5EF4-FFF2-40B4-BE49-F238E27FC236}">
                <a16:creationId xmlns:a16="http://schemas.microsoft.com/office/drawing/2014/main" id="{5BE2A380-5DA3-4594-BB61-2ECED6D3BE15}"/>
              </a:ext>
            </a:extLst>
          </p:cNvPr>
          <p:cNvPicPr>
            <a:picLocks noChangeAspect="1"/>
          </p:cNvPicPr>
          <p:nvPr/>
        </p:nvPicPr>
        <p:blipFill rotWithShape="1">
          <a:blip r:embed="rId3"/>
          <a:srcRect l="4530" r="-1" b="-1"/>
          <a:stretch/>
        </p:blipFill>
        <p:spPr>
          <a:xfrm>
            <a:off x="1143000" y="1888565"/>
            <a:ext cx="3489037" cy="3563211"/>
          </a:xfrm>
          <a:prstGeom prst="rect">
            <a:avLst/>
          </a:prstGeom>
          <a:effectLst/>
        </p:spPr>
      </p:pic>
      <p:cxnSp>
        <p:nvCxnSpPr>
          <p:cNvPr id="16" name="Straight Connector 15">
            <a:extLst>
              <a:ext uri="{FF2B5EF4-FFF2-40B4-BE49-F238E27FC236}">
                <a16:creationId xmlns:a16="http://schemas.microsoft.com/office/drawing/2014/main" id="{5E0D31FD-1D41-49C7-B113-A33B9C212FE1}"/>
              </a:ext>
            </a:extLst>
          </p:cNvPr>
          <p:cNvCxnSpPr>
            <a:cxnSpLocks/>
          </p:cNvCxnSpPr>
          <p:nvPr/>
        </p:nvCxnSpPr>
        <p:spPr>
          <a:xfrm flipV="1">
            <a:off x="4470400" y="831041"/>
            <a:ext cx="1207625" cy="1681250"/>
          </a:xfrm>
          <a:prstGeom prst="line">
            <a:avLst/>
          </a:prstGeom>
        </p:spPr>
        <p:style>
          <a:lnRef idx="3">
            <a:schemeClr val="accent2"/>
          </a:lnRef>
          <a:fillRef idx="0">
            <a:schemeClr val="accent2"/>
          </a:fillRef>
          <a:effectRef idx="2">
            <a:schemeClr val="accent2"/>
          </a:effectRef>
          <a:fontRef idx="minor">
            <a:schemeClr val="tx1"/>
          </a:fontRef>
        </p:style>
      </p:cxnSp>
      <p:cxnSp>
        <p:nvCxnSpPr>
          <p:cNvPr id="18" name="Straight Connector 17">
            <a:extLst>
              <a:ext uri="{FF2B5EF4-FFF2-40B4-BE49-F238E27FC236}">
                <a16:creationId xmlns:a16="http://schemas.microsoft.com/office/drawing/2014/main" id="{D45998DA-3B8F-4750-82B1-58CCAFF6820D}"/>
              </a:ext>
            </a:extLst>
          </p:cNvPr>
          <p:cNvCxnSpPr>
            <a:cxnSpLocks/>
            <a:stCxn id="23" idx="2"/>
          </p:cNvCxnSpPr>
          <p:nvPr/>
        </p:nvCxnSpPr>
        <p:spPr>
          <a:xfrm>
            <a:off x="4470400" y="5006110"/>
            <a:ext cx="1188028" cy="1170853"/>
          </a:xfrm>
          <a:prstGeom prst="line">
            <a:avLst/>
          </a:prstGeom>
        </p:spPr>
        <p:style>
          <a:lnRef idx="3">
            <a:schemeClr val="accent2"/>
          </a:lnRef>
          <a:fillRef idx="0">
            <a:schemeClr val="accent2"/>
          </a:fillRef>
          <a:effectRef idx="2">
            <a:schemeClr val="accent2"/>
          </a:effectRef>
          <a:fontRef idx="minor">
            <a:schemeClr val="tx1"/>
          </a:fontRef>
        </p:style>
      </p:cxnSp>
      <p:sp>
        <p:nvSpPr>
          <p:cNvPr id="23" name="Rectangle 22">
            <a:extLst>
              <a:ext uri="{FF2B5EF4-FFF2-40B4-BE49-F238E27FC236}">
                <a16:creationId xmlns:a16="http://schemas.microsoft.com/office/drawing/2014/main" id="{EA110ECE-967B-4A9B-A209-9B519B592484}"/>
              </a:ext>
            </a:extLst>
          </p:cNvPr>
          <p:cNvSpPr/>
          <p:nvPr/>
        </p:nvSpPr>
        <p:spPr>
          <a:xfrm>
            <a:off x="4438073" y="2512291"/>
            <a:ext cx="64654" cy="2493819"/>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7" name="TextBox 26">
            <a:extLst>
              <a:ext uri="{FF2B5EF4-FFF2-40B4-BE49-F238E27FC236}">
                <a16:creationId xmlns:a16="http://schemas.microsoft.com/office/drawing/2014/main" id="{FCEF55DD-CD60-4118-9EB6-ED11521F9186}"/>
              </a:ext>
            </a:extLst>
          </p:cNvPr>
          <p:cNvSpPr txBox="1"/>
          <p:nvPr/>
        </p:nvSpPr>
        <p:spPr>
          <a:xfrm>
            <a:off x="383564" y="223204"/>
            <a:ext cx="4304742" cy="1077218"/>
          </a:xfrm>
          <a:prstGeom prst="rect">
            <a:avLst/>
          </a:prstGeom>
          <a:noFill/>
        </p:spPr>
        <p:txBody>
          <a:bodyPr wrap="square" rtlCol="0">
            <a:spAutoFit/>
          </a:bodyPr>
          <a:lstStyle/>
          <a:p>
            <a:r>
              <a:rPr lang="en-US" sz="3200" dirty="0"/>
              <a:t>The Iron Law of Prediction in Action!</a:t>
            </a:r>
          </a:p>
        </p:txBody>
      </p:sp>
      <p:sp>
        <p:nvSpPr>
          <p:cNvPr id="28" name="TextBox 27">
            <a:extLst>
              <a:ext uri="{FF2B5EF4-FFF2-40B4-BE49-F238E27FC236}">
                <a16:creationId xmlns:a16="http://schemas.microsoft.com/office/drawing/2014/main" id="{A435A82A-7C79-4B19-818C-9F27D943520A}"/>
              </a:ext>
            </a:extLst>
          </p:cNvPr>
          <p:cNvSpPr txBox="1"/>
          <p:nvPr/>
        </p:nvSpPr>
        <p:spPr>
          <a:xfrm>
            <a:off x="1084941" y="1487000"/>
            <a:ext cx="2414956" cy="369332"/>
          </a:xfrm>
          <a:prstGeom prst="rect">
            <a:avLst/>
          </a:prstGeom>
          <a:noFill/>
        </p:spPr>
        <p:txBody>
          <a:bodyPr wrap="none" rtlCol="0">
            <a:spAutoFit/>
          </a:bodyPr>
          <a:lstStyle/>
          <a:p>
            <a:r>
              <a:rPr lang="en-US" dirty="0">
                <a:solidFill>
                  <a:schemeClr val="accent1">
                    <a:lumMod val="60000"/>
                    <a:lumOff val="40000"/>
                  </a:schemeClr>
                </a:solidFill>
              </a:rPr>
              <a:t>10-fold Cross-Validation</a:t>
            </a:r>
          </a:p>
        </p:txBody>
      </p:sp>
    </p:spTree>
    <p:extLst>
      <p:ext uri="{BB962C8B-B14F-4D97-AF65-F5344CB8AC3E}">
        <p14:creationId xmlns:p14="http://schemas.microsoft.com/office/powerpoint/2010/main" val="3771953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FB06FCA-C2E1-493D-BE92-20E4C0EE2CF2}"/>
              </a:ext>
            </a:extLst>
          </p:cNvPr>
          <p:cNvPicPr>
            <a:picLocks noChangeAspect="1"/>
          </p:cNvPicPr>
          <p:nvPr/>
        </p:nvPicPr>
        <p:blipFill>
          <a:blip r:embed="rId2"/>
          <a:stretch>
            <a:fillRect/>
          </a:stretch>
        </p:blipFill>
        <p:spPr>
          <a:xfrm>
            <a:off x="5677429" y="831041"/>
            <a:ext cx="4628738" cy="5300907"/>
          </a:xfrm>
          <a:prstGeom prst="rect">
            <a:avLst/>
          </a:prstGeom>
        </p:spPr>
      </p:pic>
      <p:sp>
        <p:nvSpPr>
          <p:cNvPr id="11" name="Title 10">
            <a:extLst>
              <a:ext uri="{FF2B5EF4-FFF2-40B4-BE49-F238E27FC236}">
                <a16:creationId xmlns:a16="http://schemas.microsoft.com/office/drawing/2014/main" id="{32CA85DE-5632-4429-B436-C53C5A4EB23E}"/>
              </a:ext>
            </a:extLst>
          </p:cNvPr>
          <p:cNvSpPr>
            <a:spLocks noGrp="1"/>
          </p:cNvSpPr>
          <p:nvPr>
            <p:ph type="title"/>
          </p:nvPr>
        </p:nvSpPr>
        <p:spPr>
          <a:xfrm>
            <a:off x="7302915" y="-226165"/>
            <a:ext cx="2808950" cy="1325563"/>
          </a:xfrm>
        </p:spPr>
        <p:txBody>
          <a:bodyPr>
            <a:normAutofit/>
          </a:bodyPr>
          <a:lstStyle/>
          <a:p>
            <a:r>
              <a:rPr lang="en-US" sz="3600" dirty="0">
                <a:solidFill>
                  <a:schemeClr val="accent6">
                    <a:lumMod val="60000"/>
                    <a:lumOff val="40000"/>
                  </a:schemeClr>
                </a:solidFill>
              </a:rPr>
              <a:t>Just Right!</a:t>
            </a:r>
          </a:p>
        </p:txBody>
      </p:sp>
      <p:pic>
        <p:nvPicPr>
          <p:cNvPr id="3" name="Picture 2">
            <a:extLst>
              <a:ext uri="{FF2B5EF4-FFF2-40B4-BE49-F238E27FC236}">
                <a16:creationId xmlns:a16="http://schemas.microsoft.com/office/drawing/2014/main" id="{5BE2A380-5DA3-4594-BB61-2ECED6D3BE15}"/>
              </a:ext>
            </a:extLst>
          </p:cNvPr>
          <p:cNvPicPr>
            <a:picLocks noChangeAspect="1"/>
          </p:cNvPicPr>
          <p:nvPr/>
        </p:nvPicPr>
        <p:blipFill rotWithShape="1">
          <a:blip r:embed="rId3"/>
          <a:srcRect l="4530" r="-1" b="-1"/>
          <a:stretch/>
        </p:blipFill>
        <p:spPr>
          <a:xfrm>
            <a:off x="1143000" y="1888565"/>
            <a:ext cx="3489037" cy="3563211"/>
          </a:xfrm>
          <a:prstGeom prst="rect">
            <a:avLst/>
          </a:prstGeom>
          <a:effectLst/>
        </p:spPr>
      </p:pic>
      <p:cxnSp>
        <p:nvCxnSpPr>
          <p:cNvPr id="16" name="Straight Connector 15">
            <a:extLst>
              <a:ext uri="{FF2B5EF4-FFF2-40B4-BE49-F238E27FC236}">
                <a16:creationId xmlns:a16="http://schemas.microsoft.com/office/drawing/2014/main" id="{5E0D31FD-1D41-49C7-B113-A33B9C212FE1}"/>
              </a:ext>
            </a:extLst>
          </p:cNvPr>
          <p:cNvCxnSpPr>
            <a:cxnSpLocks/>
          </p:cNvCxnSpPr>
          <p:nvPr/>
        </p:nvCxnSpPr>
        <p:spPr>
          <a:xfrm flipV="1">
            <a:off x="1668747" y="831041"/>
            <a:ext cx="4008682" cy="2312602"/>
          </a:xfrm>
          <a:prstGeom prst="line">
            <a:avLst/>
          </a:prstGeom>
          <a:ln>
            <a:solidFill>
              <a:srgbClr val="A9D18E"/>
            </a:solidFill>
          </a:ln>
        </p:spPr>
        <p:style>
          <a:lnRef idx="3">
            <a:schemeClr val="accent2"/>
          </a:lnRef>
          <a:fillRef idx="0">
            <a:schemeClr val="accent2"/>
          </a:fillRef>
          <a:effectRef idx="2">
            <a:schemeClr val="accent2"/>
          </a:effectRef>
          <a:fontRef idx="minor">
            <a:schemeClr val="tx1"/>
          </a:fontRef>
        </p:style>
      </p:cxnSp>
      <p:cxnSp>
        <p:nvCxnSpPr>
          <p:cNvPr id="18" name="Straight Connector 17">
            <a:extLst>
              <a:ext uri="{FF2B5EF4-FFF2-40B4-BE49-F238E27FC236}">
                <a16:creationId xmlns:a16="http://schemas.microsoft.com/office/drawing/2014/main" id="{D45998DA-3B8F-4750-82B1-58CCAFF6820D}"/>
              </a:ext>
            </a:extLst>
          </p:cNvPr>
          <p:cNvCxnSpPr>
            <a:cxnSpLocks/>
          </p:cNvCxnSpPr>
          <p:nvPr/>
        </p:nvCxnSpPr>
        <p:spPr>
          <a:xfrm>
            <a:off x="1668747" y="4307457"/>
            <a:ext cx="4008682" cy="1824491"/>
          </a:xfrm>
          <a:prstGeom prst="line">
            <a:avLst/>
          </a:prstGeom>
          <a:ln>
            <a:solidFill>
              <a:srgbClr val="A9D18E"/>
            </a:solidFill>
          </a:ln>
        </p:spPr>
        <p:style>
          <a:lnRef idx="3">
            <a:schemeClr val="accent2"/>
          </a:lnRef>
          <a:fillRef idx="0">
            <a:schemeClr val="accent2"/>
          </a:fillRef>
          <a:effectRef idx="2">
            <a:schemeClr val="accent2"/>
          </a:effectRef>
          <a:fontRef idx="minor">
            <a:schemeClr val="tx1"/>
          </a:fontRef>
        </p:style>
      </p:cxnSp>
      <p:sp>
        <p:nvSpPr>
          <p:cNvPr id="23" name="Rectangle 22">
            <a:extLst>
              <a:ext uri="{FF2B5EF4-FFF2-40B4-BE49-F238E27FC236}">
                <a16:creationId xmlns:a16="http://schemas.microsoft.com/office/drawing/2014/main" id="{EA110ECE-967B-4A9B-A209-9B519B592484}"/>
              </a:ext>
            </a:extLst>
          </p:cNvPr>
          <p:cNvSpPr/>
          <p:nvPr/>
        </p:nvSpPr>
        <p:spPr>
          <a:xfrm>
            <a:off x="1668747" y="3143643"/>
            <a:ext cx="45719" cy="1172326"/>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9" name="Picture 18">
            <a:extLst>
              <a:ext uri="{FF2B5EF4-FFF2-40B4-BE49-F238E27FC236}">
                <a16:creationId xmlns:a16="http://schemas.microsoft.com/office/drawing/2014/main" id="{FD0A3FF0-03B6-4146-BE88-3570054819EE}"/>
              </a:ext>
            </a:extLst>
          </p:cNvPr>
          <p:cNvPicPr>
            <a:picLocks noChangeAspect="1"/>
          </p:cNvPicPr>
          <p:nvPr/>
        </p:nvPicPr>
        <p:blipFill>
          <a:blip r:embed="rId4"/>
          <a:stretch>
            <a:fillRect/>
          </a:stretch>
        </p:blipFill>
        <p:spPr>
          <a:xfrm>
            <a:off x="9534702" y="831041"/>
            <a:ext cx="771465" cy="1362507"/>
          </a:xfrm>
          <a:prstGeom prst="rect">
            <a:avLst/>
          </a:prstGeom>
        </p:spPr>
      </p:pic>
    </p:spTree>
    <p:extLst>
      <p:ext uri="{BB962C8B-B14F-4D97-AF65-F5344CB8AC3E}">
        <p14:creationId xmlns:p14="http://schemas.microsoft.com/office/powerpoint/2010/main" val="1130048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2B9F91-40C4-4D54-B4BB-88972E9C229C}"/>
              </a:ext>
            </a:extLst>
          </p:cNvPr>
          <p:cNvSpPr/>
          <p:nvPr/>
        </p:nvSpPr>
        <p:spPr>
          <a:xfrm>
            <a:off x="3247822" y="2305615"/>
            <a:ext cx="6096000" cy="2246769"/>
          </a:xfrm>
          <a:prstGeom prst="rect">
            <a:avLst/>
          </a:prstGeom>
        </p:spPr>
        <p:txBody>
          <a:bodyPr>
            <a:spAutoFit/>
          </a:bodyPr>
          <a:lstStyle/>
          <a:p>
            <a:r>
              <a:rPr lang="en-US" sz="2800" dirty="0"/>
              <a:t>If you can look into the seeds of time, and say which grain will grow and which will not, speak then unto me… </a:t>
            </a:r>
          </a:p>
          <a:p>
            <a:r>
              <a:rPr lang="en-US" sz="2800" dirty="0"/>
              <a:t>		--William Shakespeare</a:t>
            </a:r>
          </a:p>
          <a:p>
            <a:r>
              <a:rPr lang="en-US" sz="2800" dirty="0"/>
              <a:t>		   </a:t>
            </a:r>
            <a:r>
              <a:rPr lang="en-US" sz="2800" dirty="0" err="1"/>
              <a:t>MacBeth</a:t>
            </a:r>
            <a:r>
              <a:rPr lang="en-US" sz="2800" dirty="0"/>
              <a:t> – Act 1, Scene 2</a:t>
            </a:r>
          </a:p>
        </p:txBody>
      </p:sp>
    </p:spTree>
    <p:extLst>
      <p:ext uri="{BB962C8B-B14F-4D97-AF65-F5344CB8AC3E}">
        <p14:creationId xmlns:p14="http://schemas.microsoft.com/office/powerpoint/2010/main" val="38509424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81571F-D8D5-43E0-B50A-7076CD31F140}"/>
              </a:ext>
            </a:extLst>
          </p:cNvPr>
          <p:cNvSpPr/>
          <p:nvPr/>
        </p:nvSpPr>
        <p:spPr>
          <a:xfrm>
            <a:off x="748983" y="4411832"/>
            <a:ext cx="3128145" cy="1251258"/>
          </a:xfrm>
          <a:custGeom>
            <a:avLst/>
            <a:gdLst>
              <a:gd name="connsiteX0" fmla="*/ 0 w 3128145"/>
              <a:gd name="connsiteY0" fmla="*/ 0 h 1251258"/>
              <a:gd name="connsiteX1" fmla="*/ 2502516 w 3128145"/>
              <a:gd name="connsiteY1" fmla="*/ 0 h 1251258"/>
              <a:gd name="connsiteX2" fmla="*/ 3128145 w 3128145"/>
              <a:gd name="connsiteY2" fmla="*/ 625629 h 1251258"/>
              <a:gd name="connsiteX3" fmla="*/ 2502516 w 3128145"/>
              <a:gd name="connsiteY3" fmla="*/ 1251258 h 1251258"/>
              <a:gd name="connsiteX4" fmla="*/ 0 w 3128145"/>
              <a:gd name="connsiteY4" fmla="*/ 1251258 h 1251258"/>
              <a:gd name="connsiteX5" fmla="*/ 625629 w 3128145"/>
              <a:gd name="connsiteY5" fmla="*/ 625629 h 1251258"/>
              <a:gd name="connsiteX6" fmla="*/ 0 w 3128145"/>
              <a:gd name="connsiteY6" fmla="*/ 0 h 12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8145" h="1251258">
                <a:moveTo>
                  <a:pt x="0" y="0"/>
                </a:moveTo>
                <a:lnTo>
                  <a:pt x="2502516" y="0"/>
                </a:lnTo>
                <a:lnTo>
                  <a:pt x="3128145" y="625629"/>
                </a:lnTo>
                <a:lnTo>
                  <a:pt x="2502516" y="1251258"/>
                </a:lnTo>
                <a:lnTo>
                  <a:pt x="0" y="1251258"/>
                </a:lnTo>
                <a:lnTo>
                  <a:pt x="625629" y="6256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3409" tIns="8890" rIns="625629" bIns="8890" numCol="1" spcCol="1270" anchor="ctr" anchorCtr="0">
            <a:noAutofit/>
          </a:bodyPr>
          <a:lstStyle/>
          <a:p>
            <a:pPr marL="0" lvl="0" indent="0" algn="ctr" defTabSz="622300">
              <a:lnSpc>
                <a:spcPct val="90000"/>
              </a:lnSpc>
              <a:spcBef>
                <a:spcPct val="0"/>
              </a:spcBef>
              <a:spcAft>
                <a:spcPct val="35000"/>
              </a:spcAft>
              <a:buNone/>
            </a:pPr>
            <a:r>
              <a:rPr lang="en-US" sz="1400" kern="1200" dirty="0"/>
              <a:t>The fully grown tree almost certainly overfits the training data at the expense of predictive error out of sample</a:t>
            </a:r>
          </a:p>
        </p:txBody>
      </p:sp>
      <p:sp>
        <p:nvSpPr>
          <p:cNvPr id="9" name="Freeform: Shape 8">
            <a:extLst>
              <a:ext uri="{FF2B5EF4-FFF2-40B4-BE49-F238E27FC236}">
                <a16:creationId xmlns:a16="http://schemas.microsoft.com/office/drawing/2014/main" id="{41BA8B3A-9963-459B-A2AC-1FE0576AA694}"/>
              </a:ext>
            </a:extLst>
          </p:cNvPr>
          <p:cNvSpPr/>
          <p:nvPr/>
        </p:nvSpPr>
        <p:spPr>
          <a:xfrm>
            <a:off x="789803" y="1624597"/>
            <a:ext cx="3128145" cy="1251258"/>
          </a:xfrm>
          <a:custGeom>
            <a:avLst/>
            <a:gdLst>
              <a:gd name="connsiteX0" fmla="*/ 0 w 3128145"/>
              <a:gd name="connsiteY0" fmla="*/ 0 h 1251258"/>
              <a:gd name="connsiteX1" fmla="*/ 2502516 w 3128145"/>
              <a:gd name="connsiteY1" fmla="*/ 0 h 1251258"/>
              <a:gd name="connsiteX2" fmla="*/ 3128145 w 3128145"/>
              <a:gd name="connsiteY2" fmla="*/ 625629 h 1251258"/>
              <a:gd name="connsiteX3" fmla="*/ 2502516 w 3128145"/>
              <a:gd name="connsiteY3" fmla="*/ 1251258 h 1251258"/>
              <a:gd name="connsiteX4" fmla="*/ 0 w 3128145"/>
              <a:gd name="connsiteY4" fmla="*/ 1251258 h 1251258"/>
              <a:gd name="connsiteX5" fmla="*/ 625629 w 3128145"/>
              <a:gd name="connsiteY5" fmla="*/ 625629 h 1251258"/>
              <a:gd name="connsiteX6" fmla="*/ 0 w 3128145"/>
              <a:gd name="connsiteY6" fmla="*/ 0 h 12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8145" h="1251258">
                <a:moveTo>
                  <a:pt x="0" y="0"/>
                </a:moveTo>
                <a:lnTo>
                  <a:pt x="2502516" y="0"/>
                </a:lnTo>
                <a:lnTo>
                  <a:pt x="3128145" y="625629"/>
                </a:lnTo>
                <a:lnTo>
                  <a:pt x="2502516" y="1251258"/>
                </a:lnTo>
                <a:lnTo>
                  <a:pt x="0" y="1251258"/>
                </a:lnTo>
                <a:lnTo>
                  <a:pt x="625629" y="6256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3409" tIns="8890" rIns="625629" bIns="8890" numCol="1" spcCol="1270" anchor="ctr" anchorCtr="0">
            <a:noAutofit/>
          </a:bodyPr>
          <a:lstStyle/>
          <a:p>
            <a:pPr marL="0" lvl="0" indent="0" algn="ctr" defTabSz="622300">
              <a:lnSpc>
                <a:spcPct val="90000"/>
              </a:lnSpc>
              <a:spcBef>
                <a:spcPct val="0"/>
              </a:spcBef>
              <a:spcAft>
                <a:spcPct val="35000"/>
              </a:spcAft>
              <a:buNone/>
            </a:pPr>
            <a:r>
              <a:rPr lang="en-US" sz="1400" kern="1200"/>
              <a:t>High potential for sensitivity to small clusters of observations</a:t>
            </a:r>
          </a:p>
        </p:txBody>
      </p:sp>
      <p:pic>
        <p:nvPicPr>
          <p:cNvPr id="3" name="Picture 2">
            <a:extLst>
              <a:ext uri="{FF2B5EF4-FFF2-40B4-BE49-F238E27FC236}">
                <a16:creationId xmlns:a16="http://schemas.microsoft.com/office/drawing/2014/main" id="{E7BA8DF9-EC85-4C70-8048-4C86A8A6C414}"/>
              </a:ext>
            </a:extLst>
          </p:cNvPr>
          <p:cNvPicPr>
            <a:picLocks noChangeAspect="1"/>
          </p:cNvPicPr>
          <p:nvPr/>
        </p:nvPicPr>
        <p:blipFill>
          <a:blip r:embed="rId2"/>
          <a:stretch>
            <a:fillRect/>
          </a:stretch>
        </p:blipFill>
        <p:spPr>
          <a:xfrm>
            <a:off x="4204607" y="920845"/>
            <a:ext cx="7703304" cy="4426761"/>
          </a:xfrm>
          <a:prstGeom prst="rect">
            <a:avLst/>
          </a:prstGeom>
        </p:spPr>
      </p:pic>
      <p:sp>
        <p:nvSpPr>
          <p:cNvPr id="8" name="TextBox 7">
            <a:extLst>
              <a:ext uri="{FF2B5EF4-FFF2-40B4-BE49-F238E27FC236}">
                <a16:creationId xmlns:a16="http://schemas.microsoft.com/office/drawing/2014/main" id="{B15CE70A-1D92-44DA-BC2C-8036BFA8E20E}"/>
              </a:ext>
            </a:extLst>
          </p:cNvPr>
          <p:cNvSpPr txBox="1"/>
          <p:nvPr/>
        </p:nvSpPr>
        <p:spPr>
          <a:xfrm>
            <a:off x="4131889" y="477772"/>
            <a:ext cx="4232056" cy="369332"/>
          </a:xfrm>
          <a:prstGeom prst="rect">
            <a:avLst/>
          </a:prstGeom>
          <a:noFill/>
        </p:spPr>
        <p:txBody>
          <a:bodyPr wrap="none" rtlCol="0">
            <a:spAutoFit/>
          </a:bodyPr>
          <a:lstStyle/>
          <a:p>
            <a:r>
              <a:rPr lang="en-US" dirty="0"/>
              <a:t>Back to our main simulated data example…</a:t>
            </a:r>
          </a:p>
        </p:txBody>
      </p:sp>
    </p:spTree>
    <p:extLst>
      <p:ext uri="{BB962C8B-B14F-4D97-AF65-F5344CB8AC3E}">
        <p14:creationId xmlns:p14="http://schemas.microsoft.com/office/powerpoint/2010/main" val="2638059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847E-D143-4DC6-A524-9F47C4649631}"/>
              </a:ext>
            </a:extLst>
          </p:cNvPr>
          <p:cNvPicPr>
            <a:picLocks noChangeAspect="1"/>
          </p:cNvPicPr>
          <p:nvPr/>
        </p:nvPicPr>
        <p:blipFill>
          <a:blip r:embed="rId2"/>
          <a:stretch>
            <a:fillRect/>
          </a:stretch>
        </p:blipFill>
        <p:spPr>
          <a:xfrm>
            <a:off x="654217" y="2475436"/>
            <a:ext cx="5103686" cy="3925640"/>
          </a:xfrm>
          <a:prstGeom prst="rect">
            <a:avLst/>
          </a:prstGeom>
        </p:spPr>
      </p:pic>
      <p:sp>
        <p:nvSpPr>
          <p:cNvPr id="7" name="Content Placeholder 2"/>
          <p:cNvSpPr txBox="1">
            <a:spLocks/>
          </p:cNvSpPr>
          <p:nvPr/>
        </p:nvSpPr>
        <p:spPr>
          <a:xfrm>
            <a:off x="654217" y="622608"/>
            <a:ext cx="5539439" cy="1457303"/>
          </a:xfrm>
          <a:prstGeom prst="homePlate">
            <a:avLst>
              <a:gd name="adj" fmla="val 29187"/>
            </a:avLst>
          </a:prstGeom>
          <a:ln/>
        </p:spPr>
        <p:style>
          <a:lnRef idx="1">
            <a:schemeClr val="dk1"/>
          </a:lnRef>
          <a:fillRef idx="2">
            <a:schemeClr val="dk1"/>
          </a:fillRef>
          <a:effectRef idx="1">
            <a:schemeClr val="dk1"/>
          </a:effectRef>
          <a:fontRef idx="minor">
            <a:schemeClr val="dk1"/>
          </a:fontRef>
        </p:style>
        <p:txBody>
          <a:bodyPr anchor="ctr" anchorCtr="0">
            <a:noAutofit/>
          </a:bodyPr>
          <a:lstStyle>
            <a:defPPr>
              <a:defRPr lang="en-US"/>
            </a:defPPr>
            <a:lvl1pPr marL="173736" indent="-173736" eaLnBrk="1" hangingPunct="1">
              <a:spcBef>
                <a:spcPts val="600"/>
              </a:spcBef>
              <a:buClr>
                <a:schemeClr val="tx2"/>
              </a:buClr>
              <a:buFont typeface="Arial" charset="0"/>
              <a:buChar char="•"/>
              <a:defRPr sz="1600">
                <a:solidFill>
                  <a:srgbClr val="414343"/>
                </a:solidFill>
                <a:latin typeface="+mn-lt"/>
              </a:defRPr>
            </a:lvl1pPr>
            <a:lvl2pPr indent="-234950" eaLnBrk="1" hangingPunct="1">
              <a:spcBef>
                <a:spcPct val="20000"/>
              </a:spcBef>
              <a:buFont typeface="Lucida Grande" charset="0"/>
              <a:buChar char="&gt;"/>
              <a:defRPr sz="1600">
                <a:solidFill>
                  <a:srgbClr val="414343"/>
                </a:solidFill>
                <a:latin typeface="+mn-lt"/>
              </a:defRPr>
            </a:lvl2pPr>
            <a:lvl3pPr marL="679450" indent="-222250" eaLnBrk="1" hangingPunct="1">
              <a:spcBef>
                <a:spcPct val="20000"/>
              </a:spcBef>
              <a:buFont typeface="Lucida Grande" charset="0"/>
              <a:buChar char="-"/>
              <a:defRPr sz="1600">
                <a:solidFill>
                  <a:srgbClr val="414343"/>
                </a:solidFill>
                <a:latin typeface="+mn-lt"/>
              </a:defRPr>
            </a:lvl3pPr>
            <a:lvl4pPr marL="914400" indent="-234950" eaLnBrk="1" hangingPunct="1">
              <a:spcBef>
                <a:spcPct val="20000"/>
              </a:spcBef>
              <a:buFont typeface="Arial" charset="0"/>
              <a:buChar char="»"/>
              <a:defRPr sz="1600">
                <a:solidFill>
                  <a:srgbClr val="414343"/>
                </a:solidFill>
                <a:latin typeface="+mn-lt"/>
              </a:defRPr>
            </a:lvl4pPr>
            <a:lvl5pPr marL="1144588" indent="-222250" eaLnBrk="1" hangingPunct="1">
              <a:spcBef>
                <a:spcPct val="20000"/>
              </a:spcBef>
              <a:buFont typeface="Arial" charset="0"/>
              <a:buChar char="•"/>
              <a:defRPr sz="1600">
                <a:solidFill>
                  <a:srgbClr val="414343"/>
                </a:solidFill>
                <a:latin typeface="+mn-lt"/>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r>
              <a:rPr lang="en-US" sz="2000" dirty="0">
                <a:solidFill>
                  <a:schemeClr val="tx1"/>
                </a:solidFill>
              </a:rPr>
              <a:t>Back to our main simulated data example</a:t>
            </a:r>
          </a:p>
          <a:p>
            <a:pPr marL="0" indent="0">
              <a:buNone/>
            </a:pPr>
            <a:r>
              <a:rPr lang="en-US" sz="2000" dirty="0"/>
              <a:t>We performed 5x-repeated 5-fold cross-validation…</a:t>
            </a:r>
          </a:p>
        </p:txBody>
      </p:sp>
      <p:sp>
        <p:nvSpPr>
          <p:cNvPr id="8" name="Content Placeholder 2"/>
          <p:cNvSpPr txBox="1">
            <a:spLocks/>
          </p:cNvSpPr>
          <p:nvPr/>
        </p:nvSpPr>
        <p:spPr>
          <a:xfrm flipH="1">
            <a:off x="6193655" y="4459170"/>
            <a:ext cx="5267875" cy="2027175"/>
          </a:xfrm>
          <a:prstGeom prst="homePlate">
            <a:avLst>
              <a:gd name="adj" fmla="val 13069"/>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37160" rIns="91440" anchor="ctr" anchorCtr="0">
            <a:noAutofit/>
          </a:bodyPr>
          <a:lstStyle>
            <a:defPPr>
              <a:defRPr lang="en-US"/>
            </a:defPPr>
            <a:lvl1pPr marL="173736" indent="-173736" eaLnBrk="1" hangingPunct="1">
              <a:spcBef>
                <a:spcPts val="600"/>
              </a:spcBef>
              <a:buClr>
                <a:schemeClr val="tx2"/>
              </a:buClr>
              <a:buFont typeface="Arial" charset="0"/>
              <a:buChar char="•"/>
              <a:defRPr sz="1600">
                <a:solidFill>
                  <a:srgbClr val="414343"/>
                </a:solidFill>
                <a:latin typeface="+mn-lt"/>
              </a:defRPr>
            </a:lvl1pPr>
            <a:lvl2pPr indent="-234950" eaLnBrk="1" hangingPunct="1">
              <a:spcBef>
                <a:spcPct val="20000"/>
              </a:spcBef>
              <a:buFont typeface="Lucida Grande" charset="0"/>
              <a:buChar char="&gt;"/>
              <a:defRPr sz="1600">
                <a:solidFill>
                  <a:srgbClr val="414343"/>
                </a:solidFill>
                <a:latin typeface="+mn-lt"/>
              </a:defRPr>
            </a:lvl2pPr>
            <a:lvl3pPr marL="679450" indent="-222250" eaLnBrk="1" hangingPunct="1">
              <a:spcBef>
                <a:spcPct val="20000"/>
              </a:spcBef>
              <a:buFont typeface="Lucida Grande" charset="0"/>
              <a:buChar char="-"/>
              <a:defRPr sz="1600">
                <a:solidFill>
                  <a:srgbClr val="414343"/>
                </a:solidFill>
                <a:latin typeface="+mn-lt"/>
              </a:defRPr>
            </a:lvl3pPr>
            <a:lvl4pPr marL="914400" indent="-234950" eaLnBrk="1" hangingPunct="1">
              <a:spcBef>
                <a:spcPct val="20000"/>
              </a:spcBef>
              <a:buFont typeface="Arial" charset="0"/>
              <a:buChar char="»"/>
              <a:defRPr sz="1600">
                <a:solidFill>
                  <a:srgbClr val="414343"/>
                </a:solidFill>
                <a:latin typeface="+mn-lt"/>
              </a:defRPr>
            </a:lvl4pPr>
            <a:lvl5pPr marL="1144588" indent="-222250" eaLnBrk="1" hangingPunct="1">
              <a:spcBef>
                <a:spcPct val="20000"/>
              </a:spcBef>
              <a:buFont typeface="Arial" charset="0"/>
              <a:buChar char="•"/>
              <a:defRPr sz="1600">
                <a:solidFill>
                  <a:srgbClr val="414343"/>
                </a:solidFill>
                <a:latin typeface="+mn-lt"/>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buNone/>
            </a:pPr>
            <a:r>
              <a:rPr lang="en-US" sz="1800" dirty="0"/>
              <a:t>Trees resulting from more restrictive complexity parameters are said to be “pruned”</a:t>
            </a:r>
          </a:p>
          <a:p>
            <a:pPr marL="0" indent="0">
              <a:buNone/>
            </a:pPr>
            <a:r>
              <a:rPr lang="en-US" sz="1800" dirty="0"/>
              <a:t>The pruned tree at left generates 7 “terminal nodes” (or leaves) that partition the dataset and generate 7 possible predicted values</a:t>
            </a:r>
          </a:p>
        </p:txBody>
      </p:sp>
      <p:cxnSp>
        <p:nvCxnSpPr>
          <p:cNvPr id="5" name="Straight Connector 4">
            <a:extLst>
              <a:ext uri="{FF2B5EF4-FFF2-40B4-BE49-F238E27FC236}">
                <a16:creationId xmlns:a16="http://schemas.microsoft.com/office/drawing/2014/main" id="{BC2007AB-927B-4B44-A48F-3EC53DD8C9B5}"/>
              </a:ext>
            </a:extLst>
          </p:cNvPr>
          <p:cNvCxnSpPr>
            <a:cxnSpLocks/>
          </p:cNvCxnSpPr>
          <p:nvPr/>
        </p:nvCxnSpPr>
        <p:spPr>
          <a:xfrm>
            <a:off x="8562885" y="988671"/>
            <a:ext cx="0" cy="187121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EF0A13F-2AEE-419D-8667-6149A28990C8}"/>
              </a:ext>
            </a:extLst>
          </p:cNvPr>
          <p:cNvCxnSpPr>
            <a:cxnSpLocks/>
          </p:cNvCxnSpPr>
          <p:nvPr/>
        </p:nvCxnSpPr>
        <p:spPr>
          <a:xfrm>
            <a:off x="8562885" y="3178969"/>
            <a:ext cx="0" cy="60483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242F60F-1239-47D3-BCD5-56297CE2A282}"/>
              </a:ext>
            </a:extLst>
          </p:cNvPr>
          <p:cNvPicPr>
            <a:picLocks noChangeAspect="1"/>
          </p:cNvPicPr>
          <p:nvPr/>
        </p:nvPicPr>
        <p:blipFill>
          <a:blip r:embed="rId3"/>
          <a:stretch>
            <a:fillRect/>
          </a:stretch>
        </p:blipFill>
        <p:spPr>
          <a:xfrm>
            <a:off x="6692897" y="622608"/>
            <a:ext cx="4768634" cy="3705657"/>
          </a:xfrm>
          <a:prstGeom prst="rect">
            <a:avLst/>
          </a:prstGeom>
        </p:spPr>
      </p:pic>
      <p:cxnSp>
        <p:nvCxnSpPr>
          <p:cNvPr id="15" name="Straight Arrow Connector 14"/>
          <p:cNvCxnSpPr>
            <a:cxnSpLocks/>
          </p:cNvCxnSpPr>
          <p:nvPr/>
        </p:nvCxnSpPr>
        <p:spPr>
          <a:xfrm flipH="1">
            <a:off x="5538486" y="2925213"/>
            <a:ext cx="2607031" cy="503787"/>
          </a:xfrm>
          <a:prstGeom prst="straightConnector1">
            <a:avLst/>
          </a:prstGeom>
          <a:ln w="19050">
            <a:solidFill>
              <a:srgbClr val="C00000"/>
            </a:solidFill>
            <a:tailEnd type="triangle"/>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22149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FAB111-FCB1-4BCE-80FE-FEF33819AB8A}"/>
              </a:ext>
            </a:extLst>
          </p:cNvPr>
          <p:cNvPicPr>
            <a:picLocks noChangeAspect="1"/>
          </p:cNvPicPr>
          <p:nvPr/>
        </p:nvPicPr>
        <p:blipFill>
          <a:blip r:embed="rId2"/>
          <a:stretch>
            <a:fillRect/>
          </a:stretch>
        </p:blipFill>
        <p:spPr>
          <a:xfrm>
            <a:off x="7331670" y="1690688"/>
            <a:ext cx="4210748" cy="4853276"/>
          </a:xfrm>
          <a:prstGeom prst="rect">
            <a:avLst/>
          </a:prstGeom>
        </p:spPr>
      </p:pic>
      <p:sp>
        <p:nvSpPr>
          <p:cNvPr id="2" name="Title 1"/>
          <p:cNvSpPr>
            <a:spLocks noGrp="1"/>
          </p:cNvSpPr>
          <p:nvPr>
            <p:ph type="title"/>
          </p:nvPr>
        </p:nvSpPr>
        <p:spPr/>
        <p:txBody>
          <a:bodyPr/>
          <a:lstStyle/>
          <a:p>
            <a:r>
              <a:rPr lang="en-US" dirty="0"/>
              <a:t>Now, how did we do?</a:t>
            </a:r>
          </a:p>
        </p:txBody>
      </p:sp>
      <p:graphicFrame>
        <p:nvGraphicFramePr>
          <p:cNvPr id="9" name="Content Placeholder 8">
            <a:extLst>
              <a:ext uri="{FF2B5EF4-FFF2-40B4-BE49-F238E27FC236}">
                <a16:creationId xmlns:a16="http://schemas.microsoft.com/office/drawing/2014/main" id="{5F9AE42B-6862-4691-B57E-202AAD38B3A7}"/>
              </a:ext>
            </a:extLst>
          </p:cNvPr>
          <p:cNvGraphicFramePr>
            <a:graphicFrameLocks noGrp="1"/>
          </p:cNvGraphicFramePr>
          <p:nvPr>
            <p:ph idx="1"/>
            <p:extLst>
              <p:ext uri="{D42A27DB-BD31-4B8C-83A1-F6EECF244321}">
                <p14:modId xmlns:p14="http://schemas.microsoft.com/office/powerpoint/2010/main" val="2433188042"/>
              </p:ext>
            </p:extLst>
          </p:nvPr>
        </p:nvGraphicFramePr>
        <p:xfrm>
          <a:off x="697121" y="1733073"/>
          <a:ext cx="6121342" cy="47685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Arrow: Right 6"/>
          <p:cNvSpPr/>
          <p:nvPr/>
        </p:nvSpPr>
        <p:spPr>
          <a:xfrm rot="2211878">
            <a:off x="9541479" y="2330924"/>
            <a:ext cx="1664877" cy="434639"/>
          </a:xfrm>
          <a:prstGeom prst="rightArrow">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pic>
        <p:nvPicPr>
          <p:cNvPr id="1026" name="Picture 2" descr="Image result for grumpy cat meh"/>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78038" y="999835"/>
            <a:ext cx="1711076" cy="1334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486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50A21-A2AE-4C3E-8AE4-9F3CB1DEB62D}"/>
              </a:ext>
            </a:extLst>
          </p:cNvPr>
          <p:cNvSpPr>
            <a:spLocks noGrp="1"/>
          </p:cNvSpPr>
          <p:nvPr>
            <p:ph type="title"/>
          </p:nvPr>
        </p:nvSpPr>
        <p:spPr>
          <a:xfrm>
            <a:off x="555722" y="287867"/>
            <a:ext cx="4607406" cy="885151"/>
          </a:xfrm>
          <a:noFill/>
          <a:ln w="19050">
            <a:solidFill>
              <a:schemeClr val="tx1"/>
            </a:solidFill>
          </a:ln>
        </p:spPr>
        <p:txBody>
          <a:bodyPr wrap="square">
            <a:normAutofit/>
          </a:bodyPr>
          <a:lstStyle/>
          <a:p>
            <a:pPr algn="ctr"/>
            <a:r>
              <a:rPr lang="en-US" sz="2800" dirty="0"/>
              <a:t>Ensembles of Weak Learners</a:t>
            </a:r>
          </a:p>
        </p:txBody>
      </p:sp>
      <p:graphicFrame>
        <p:nvGraphicFramePr>
          <p:cNvPr id="4" name="Content Placeholder 3">
            <a:extLst>
              <a:ext uri="{FF2B5EF4-FFF2-40B4-BE49-F238E27FC236}">
                <a16:creationId xmlns:a16="http://schemas.microsoft.com/office/drawing/2014/main" id="{8D7D0465-F54F-4648-B0A5-9F2E2BE8F78F}"/>
              </a:ext>
            </a:extLst>
          </p:cNvPr>
          <p:cNvGraphicFramePr>
            <a:graphicFrameLocks noGrp="1"/>
          </p:cNvGraphicFramePr>
          <p:nvPr>
            <p:ph idx="1"/>
            <p:extLst>
              <p:ext uri="{D42A27DB-BD31-4B8C-83A1-F6EECF244321}">
                <p14:modId xmlns:p14="http://schemas.microsoft.com/office/powerpoint/2010/main" val="3231756241"/>
              </p:ext>
            </p:extLst>
          </p:nvPr>
        </p:nvGraphicFramePr>
        <p:xfrm>
          <a:off x="486448" y="1645133"/>
          <a:ext cx="5498716" cy="43677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27A8AA99-621E-48FE-9ED2-785D38D1F522}"/>
              </a:ext>
            </a:extLst>
          </p:cNvPr>
          <p:cNvPicPr>
            <a:picLocks noChangeAspect="1"/>
          </p:cNvPicPr>
          <p:nvPr/>
        </p:nvPicPr>
        <p:blipFill>
          <a:blip r:embed="rId7"/>
          <a:stretch>
            <a:fillRect/>
          </a:stretch>
        </p:blipFill>
        <p:spPr>
          <a:xfrm>
            <a:off x="6359809" y="402863"/>
            <a:ext cx="5005536" cy="6163112"/>
          </a:xfrm>
          <a:prstGeom prst="rect">
            <a:avLst/>
          </a:prstGeom>
        </p:spPr>
      </p:pic>
    </p:spTree>
    <p:extLst>
      <p:ext uri="{BB962C8B-B14F-4D97-AF65-F5344CB8AC3E}">
        <p14:creationId xmlns:p14="http://schemas.microsoft.com/office/powerpoint/2010/main" val="3549461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2566FB-DC55-4D78-8E6E-F561C8C35673}"/>
              </a:ext>
            </a:extLst>
          </p:cNvPr>
          <p:cNvPicPr>
            <a:picLocks noChangeAspect="1"/>
          </p:cNvPicPr>
          <p:nvPr/>
        </p:nvPicPr>
        <p:blipFill>
          <a:blip r:embed="rId2"/>
          <a:stretch>
            <a:fillRect/>
          </a:stretch>
        </p:blipFill>
        <p:spPr>
          <a:xfrm>
            <a:off x="1810565" y="685030"/>
            <a:ext cx="8570870" cy="5571066"/>
          </a:xfrm>
          <a:prstGeom prst="rect">
            <a:avLst/>
          </a:prstGeom>
        </p:spPr>
      </p:pic>
    </p:spTree>
    <p:extLst>
      <p:ext uri="{BB962C8B-B14F-4D97-AF65-F5344CB8AC3E}">
        <p14:creationId xmlns:p14="http://schemas.microsoft.com/office/powerpoint/2010/main" val="20220464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E844207-B5F4-4BBE-A59A-037B278F109C}"/>
              </a:ext>
            </a:extLst>
          </p:cNvPr>
          <p:cNvSpPr/>
          <p:nvPr/>
        </p:nvSpPr>
        <p:spPr>
          <a:xfrm>
            <a:off x="5280790" y="991636"/>
            <a:ext cx="2785558" cy="1392779"/>
          </a:xfrm>
          <a:custGeom>
            <a:avLst/>
            <a:gdLst>
              <a:gd name="connsiteX0" fmla="*/ 0 w 2785558"/>
              <a:gd name="connsiteY0" fmla="*/ 139278 h 1392779"/>
              <a:gd name="connsiteX1" fmla="*/ 139278 w 2785558"/>
              <a:gd name="connsiteY1" fmla="*/ 0 h 1392779"/>
              <a:gd name="connsiteX2" fmla="*/ 2646280 w 2785558"/>
              <a:gd name="connsiteY2" fmla="*/ 0 h 1392779"/>
              <a:gd name="connsiteX3" fmla="*/ 2785558 w 2785558"/>
              <a:gd name="connsiteY3" fmla="*/ 139278 h 1392779"/>
              <a:gd name="connsiteX4" fmla="*/ 2785558 w 2785558"/>
              <a:gd name="connsiteY4" fmla="*/ 1253501 h 1392779"/>
              <a:gd name="connsiteX5" fmla="*/ 2646280 w 2785558"/>
              <a:gd name="connsiteY5" fmla="*/ 1392779 h 1392779"/>
              <a:gd name="connsiteX6" fmla="*/ 139278 w 2785558"/>
              <a:gd name="connsiteY6" fmla="*/ 1392779 h 1392779"/>
              <a:gd name="connsiteX7" fmla="*/ 0 w 2785558"/>
              <a:gd name="connsiteY7" fmla="*/ 1253501 h 1392779"/>
              <a:gd name="connsiteX8" fmla="*/ 0 w 2785558"/>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5558" h="1392779">
                <a:moveTo>
                  <a:pt x="0" y="139278"/>
                </a:moveTo>
                <a:cubicBezTo>
                  <a:pt x="0" y="62357"/>
                  <a:pt x="62357" y="0"/>
                  <a:pt x="139278" y="0"/>
                </a:cubicBezTo>
                <a:lnTo>
                  <a:pt x="2646280" y="0"/>
                </a:lnTo>
                <a:cubicBezTo>
                  <a:pt x="2723201" y="0"/>
                  <a:pt x="2785558" y="62357"/>
                  <a:pt x="2785558" y="139278"/>
                </a:cubicBezTo>
                <a:lnTo>
                  <a:pt x="2785558" y="1253501"/>
                </a:lnTo>
                <a:cubicBezTo>
                  <a:pt x="2785558" y="1330422"/>
                  <a:pt x="2723201" y="1392779"/>
                  <a:pt x="2646280" y="1392779"/>
                </a:cubicBezTo>
                <a:lnTo>
                  <a:pt x="139278" y="1392779"/>
                </a:lnTo>
                <a:cubicBezTo>
                  <a:pt x="62357" y="1392779"/>
                  <a:pt x="0" y="1330422"/>
                  <a:pt x="0" y="1253501"/>
                </a:cubicBezTo>
                <a:lnTo>
                  <a:pt x="0" y="139278"/>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shade val="80000"/>
              <a:hueOff val="0"/>
              <a:satOff val="0"/>
              <a:lumOff val="0"/>
              <a:alphaOff val="0"/>
            </a:schemeClr>
          </a:fillRef>
          <a:effectRef idx="1">
            <a:schemeClr val="accent1">
              <a:shade val="80000"/>
              <a:hueOff val="0"/>
              <a:satOff val="0"/>
              <a:lumOff val="0"/>
              <a:alphaOff val="0"/>
            </a:schemeClr>
          </a:effectRef>
          <a:fontRef idx="minor">
            <a:schemeClr val="dk1"/>
          </a:fontRef>
        </p:style>
        <p:txBody>
          <a:bodyPr spcFirstLastPara="0" vert="horz" wrap="square" lIns="97943" tIns="78893" rIns="97943" bIns="78893" numCol="1" spcCol="1270" anchor="ctr" anchorCtr="0">
            <a:noAutofit/>
          </a:bodyPr>
          <a:lstStyle/>
          <a:p>
            <a:pPr marL="0" lvl="0" indent="0" algn="ctr" defTabSz="1333500">
              <a:lnSpc>
                <a:spcPct val="90000"/>
              </a:lnSpc>
              <a:spcBef>
                <a:spcPct val="0"/>
              </a:spcBef>
              <a:spcAft>
                <a:spcPct val="35000"/>
              </a:spcAft>
              <a:buNone/>
            </a:pPr>
            <a:r>
              <a:rPr lang="en-US" sz="3000" kern="1200"/>
              <a:t>Bagging</a:t>
            </a:r>
          </a:p>
        </p:txBody>
      </p:sp>
      <p:sp>
        <p:nvSpPr>
          <p:cNvPr id="8" name="Freeform: Shape 7">
            <a:extLst>
              <a:ext uri="{FF2B5EF4-FFF2-40B4-BE49-F238E27FC236}">
                <a16:creationId xmlns:a16="http://schemas.microsoft.com/office/drawing/2014/main" id="{FBCB0B2A-AED3-4D92-9A0E-FD2D9DC2758D}"/>
              </a:ext>
            </a:extLst>
          </p:cNvPr>
          <p:cNvSpPr/>
          <p:nvPr/>
        </p:nvSpPr>
        <p:spPr>
          <a:xfrm>
            <a:off x="5559346" y="2384415"/>
            <a:ext cx="278555" cy="1044584"/>
          </a:xfrm>
          <a:custGeom>
            <a:avLst/>
            <a:gdLst/>
            <a:ahLst/>
            <a:cxnLst/>
            <a:rect l="0" t="0" r="0" b="0"/>
            <a:pathLst>
              <a:path>
                <a:moveTo>
                  <a:pt x="0" y="0"/>
                </a:moveTo>
                <a:lnTo>
                  <a:pt x="0" y="1044584"/>
                </a:lnTo>
                <a:lnTo>
                  <a:pt x="278555" y="1044584"/>
                </a:lnTo>
              </a:path>
            </a:pathLst>
          </a:custGeom>
          <a:noFill/>
        </p:spPr>
        <p:style>
          <a:lnRef idx="2">
            <a:schemeClr val="accent1">
              <a:tint val="99000"/>
              <a:hueOff val="0"/>
              <a:satOff val="0"/>
              <a:lumOff val="0"/>
              <a:alphaOff val="0"/>
            </a:schemeClr>
          </a:lnRef>
          <a:fillRef idx="0">
            <a:scrgbClr r="0" g="0" b="0"/>
          </a:fillRef>
          <a:effectRef idx="0">
            <a:schemeClr val="accent1">
              <a:tint val="99000"/>
              <a:hueOff val="0"/>
              <a:satOff val="0"/>
              <a:lumOff val="0"/>
              <a:alphaOff val="0"/>
            </a:schemeClr>
          </a:effectRef>
          <a:fontRef idx="minor">
            <a:schemeClr val="tx1">
              <a:hueOff val="0"/>
              <a:satOff val="0"/>
              <a:lumOff val="0"/>
              <a:alphaOff val="0"/>
            </a:schemeClr>
          </a:fontRef>
        </p:style>
      </p:sp>
      <p:sp>
        <p:nvSpPr>
          <p:cNvPr id="9" name="Freeform: Shape 8">
            <a:extLst>
              <a:ext uri="{FF2B5EF4-FFF2-40B4-BE49-F238E27FC236}">
                <a16:creationId xmlns:a16="http://schemas.microsoft.com/office/drawing/2014/main" id="{A54C8D85-FE5E-4875-A9F7-C0676A7FE996}"/>
              </a:ext>
            </a:extLst>
          </p:cNvPr>
          <p:cNvSpPr/>
          <p:nvPr/>
        </p:nvSpPr>
        <p:spPr>
          <a:xfrm>
            <a:off x="5837902" y="2732610"/>
            <a:ext cx="2228447" cy="1392779"/>
          </a:xfrm>
          <a:custGeom>
            <a:avLst/>
            <a:gdLst>
              <a:gd name="connsiteX0" fmla="*/ 0 w 2228447"/>
              <a:gd name="connsiteY0" fmla="*/ 139278 h 1392779"/>
              <a:gd name="connsiteX1" fmla="*/ 139278 w 2228447"/>
              <a:gd name="connsiteY1" fmla="*/ 0 h 1392779"/>
              <a:gd name="connsiteX2" fmla="*/ 2089169 w 2228447"/>
              <a:gd name="connsiteY2" fmla="*/ 0 h 1392779"/>
              <a:gd name="connsiteX3" fmla="*/ 2228447 w 2228447"/>
              <a:gd name="connsiteY3" fmla="*/ 139278 h 1392779"/>
              <a:gd name="connsiteX4" fmla="*/ 2228447 w 2228447"/>
              <a:gd name="connsiteY4" fmla="*/ 1253501 h 1392779"/>
              <a:gd name="connsiteX5" fmla="*/ 2089169 w 2228447"/>
              <a:gd name="connsiteY5" fmla="*/ 1392779 h 1392779"/>
              <a:gd name="connsiteX6" fmla="*/ 139278 w 2228447"/>
              <a:gd name="connsiteY6" fmla="*/ 1392779 h 1392779"/>
              <a:gd name="connsiteX7" fmla="*/ 0 w 2228447"/>
              <a:gd name="connsiteY7" fmla="*/ 1253501 h 1392779"/>
              <a:gd name="connsiteX8" fmla="*/ 0 w 2228447"/>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447" h="1392779">
                <a:moveTo>
                  <a:pt x="0" y="139278"/>
                </a:moveTo>
                <a:cubicBezTo>
                  <a:pt x="0" y="62357"/>
                  <a:pt x="62357" y="0"/>
                  <a:pt x="139278" y="0"/>
                </a:cubicBezTo>
                <a:lnTo>
                  <a:pt x="2089169" y="0"/>
                </a:lnTo>
                <a:cubicBezTo>
                  <a:pt x="2166090" y="0"/>
                  <a:pt x="2228447" y="62357"/>
                  <a:pt x="2228447" y="139278"/>
                </a:cubicBezTo>
                <a:lnTo>
                  <a:pt x="2228447" y="1253501"/>
                </a:lnTo>
                <a:cubicBezTo>
                  <a:pt x="2228447" y="1330422"/>
                  <a:pt x="2166090" y="1392779"/>
                  <a:pt x="2089169" y="1392779"/>
                </a:cubicBezTo>
                <a:lnTo>
                  <a:pt x="139278" y="1392779"/>
                </a:lnTo>
                <a:cubicBezTo>
                  <a:pt x="62357" y="1392779"/>
                  <a:pt x="0" y="1330422"/>
                  <a:pt x="0" y="1253501"/>
                </a:cubicBezTo>
                <a:lnTo>
                  <a:pt x="0" y="139278"/>
                </a:lnTo>
                <a:close/>
              </a:path>
            </a:pathLst>
          </a:custGeom>
        </p:spPr>
        <p:style>
          <a:lnRef idx="1">
            <a:schemeClr val="accent1">
              <a:shade val="8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9368" tIns="59843" rIns="69368" bIns="59843" numCol="1" spcCol="1270" anchor="ctr" anchorCtr="0">
            <a:noAutofit/>
          </a:bodyPr>
          <a:lstStyle/>
          <a:p>
            <a:pPr marL="0" lvl="0" indent="0" algn="ctr" defTabSz="666750">
              <a:lnSpc>
                <a:spcPct val="90000"/>
              </a:lnSpc>
              <a:spcBef>
                <a:spcPct val="0"/>
              </a:spcBef>
              <a:spcAft>
                <a:spcPct val="35000"/>
              </a:spcAft>
              <a:buNone/>
            </a:pPr>
            <a:r>
              <a:rPr lang="en-US" sz="1500" u="sng" kern="1200" dirty="0"/>
              <a:t>B</a:t>
            </a:r>
            <a:r>
              <a:rPr lang="en-US" sz="1500" u="none" kern="1200" dirty="0"/>
              <a:t>ootstrap the data repeatedly to create an ensemble of trees with varying structure resulting from resampling</a:t>
            </a:r>
            <a:endParaRPr lang="en-US" sz="1500" kern="1200" dirty="0"/>
          </a:p>
        </p:txBody>
      </p:sp>
      <p:sp>
        <p:nvSpPr>
          <p:cNvPr id="13" name="Freeform: Shape 12">
            <a:extLst>
              <a:ext uri="{FF2B5EF4-FFF2-40B4-BE49-F238E27FC236}">
                <a16:creationId xmlns:a16="http://schemas.microsoft.com/office/drawing/2014/main" id="{12E0DA87-B318-4B0C-BC16-3A876ED83D6F}"/>
              </a:ext>
            </a:extLst>
          </p:cNvPr>
          <p:cNvSpPr/>
          <p:nvPr/>
        </p:nvSpPr>
        <p:spPr>
          <a:xfrm>
            <a:off x="5559346" y="2384415"/>
            <a:ext cx="278555" cy="2785558"/>
          </a:xfrm>
          <a:custGeom>
            <a:avLst/>
            <a:gdLst/>
            <a:ahLst/>
            <a:cxnLst/>
            <a:rect l="0" t="0" r="0" b="0"/>
            <a:pathLst>
              <a:path>
                <a:moveTo>
                  <a:pt x="0" y="0"/>
                </a:moveTo>
                <a:lnTo>
                  <a:pt x="0" y="2785558"/>
                </a:lnTo>
                <a:lnTo>
                  <a:pt x="278555" y="2785558"/>
                </a:lnTo>
              </a:path>
            </a:pathLst>
          </a:custGeom>
          <a:noFill/>
        </p:spPr>
        <p:style>
          <a:lnRef idx="2">
            <a:schemeClr val="accent1">
              <a:tint val="99000"/>
              <a:hueOff val="0"/>
              <a:satOff val="0"/>
              <a:lumOff val="0"/>
              <a:alphaOff val="0"/>
            </a:schemeClr>
          </a:lnRef>
          <a:fillRef idx="0">
            <a:scrgbClr r="0" g="0" b="0"/>
          </a:fillRef>
          <a:effectRef idx="0">
            <a:schemeClr val="accent1">
              <a:tint val="99000"/>
              <a:hueOff val="0"/>
              <a:satOff val="0"/>
              <a:lumOff val="0"/>
              <a:alphaOff val="0"/>
            </a:schemeClr>
          </a:effectRef>
          <a:fontRef idx="minor">
            <a:schemeClr val="tx1">
              <a:hueOff val="0"/>
              <a:satOff val="0"/>
              <a:lumOff val="0"/>
              <a:alphaOff val="0"/>
            </a:schemeClr>
          </a:fontRef>
        </p:style>
      </p:sp>
      <p:sp>
        <p:nvSpPr>
          <p:cNvPr id="14" name="Freeform: Shape 13">
            <a:extLst>
              <a:ext uri="{FF2B5EF4-FFF2-40B4-BE49-F238E27FC236}">
                <a16:creationId xmlns:a16="http://schemas.microsoft.com/office/drawing/2014/main" id="{927F8C13-3950-4AB0-93D7-DA5023D85004}"/>
              </a:ext>
            </a:extLst>
          </p:cNvPr>
          <p:cNvSpPr/>
          <p:nvPr/>
        </p:nvSpPr>
        <p:spPr>
          <a:xfrm>
            <a:off x="5837902" y="4473585"/>
            <a:ext cx="2228447" cy="1392779"/>
          </a:xfrm>
          <a:custGeom>
            <a:avLst/>
            <a:gdLst>
              <a:gd name="connsiteX0" fmla="*/ 0 w 2228447"/>
              <a:gd name="connsiteY0" fmla="*/ 139278 h 1392779"/>
              <a:gd name="connsiteX1" fmla="*/ 139278 w 2228447"/>
              <a:gd name="connsiteY1" fmla="*/ 0 h 1392779"/>
              <a:gd name="connsiteX2" fmla="*/ 2089169 w 2228447"/>
              <a:gd name="connsiteY2" fmla="*/ 0 h 1392779"/>
              <a:gd name="connsiteX3" fmla="*/ 2228447 w 2228447"/>
              <a:gd name="connsiteY3" fmla="*/ 139278 h 1392779"/>
              <a:gd name="connsiteX4" fmla="*/ 2228447 w 2228447"/>
              <a:gd name="connsiteY4" fmla="*/ 1253501 h 1392779"/>
              <a:gd name="connsiteX5" fmla="*/ 2089169 w 2228447"/>
              <a:gd name="connsiteY5" fmla="*/ 1392779 h 1392779"/>
              <a:gd name="connsiteX6" fmla="*/ 139278 w 2228447"/>
              <a:gd name="connsiteY6" fmla="*/ 1392779 h 1392779"/>
              <a:gd name="connsiteX7" fmla="*/ 0 w 2228447"/>
              <a:gd name="connsiteY7" fmla="*/ 1253501 h 1392779"/>
              <a:gd name="connsiteX8" fmla="*/ 0 w 2228447"/>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447" h="1392779">
                <a:moveTo>
                  <a:pt x="0" y="139278"/>
                </a:moveTo>
                <a:cubicBezTo>
                  <a:pt x="0" y="62357"/>
                  <a:pt x="62357" y="0"/>
                  <a:pt x="139278" y="0"/>
                </a:cubicBezTo>
                <a:lnTo>
                  <a:pt x="2089169" y="0"/>
                </a:lnTo>
                <a:cubicBezTo>
                  <a:pt x="2166090" y="0"/>
                  <a:pt x="2228447" y="62357"/>
                  <a:pt x="2228447" y="139278"/>
                </a:cubicBezTo>
                <a:lnTo>
                  <a:pt x="2228447" y="1253501"/>
                </a:lnTo>
                <a:cubicBezTo>
                  <a:pt x="2228447" y="1330422"/>
                  <a:pt x="2166090" y="1392779"/>
                  <a:pt x="2089169" y="1392779"/>
                </a:cubicBezTo>
                <a:lnTo>
                  <a:pt x="139278" y="1392779"/>
                </a:lnTo>
                <a:cubicBezTo>
                  <a:pt x="62357" y="1392779"/>
                  <a:pt x="0" y="1330422"/>
                  <a:pt x="0" y="1253501"/>
                </a:cubicBezTo>
                <a:lnTo>
                  <a:pt x="0" y="139278"/>
                </a:lnTo>
                <a:close/>
              </a:path>
            </a:pathLst>
          </a:custGeom>
        </p:spPr>
        <p:style>
          <a:lnRef idx="1">
            <a:schemeClr val="accent1">
              <a:shade val="80000"/>
              <a:hueOff val="116428"/>
              <a:satOff val="-2085"/>
              <a:lumOff val="886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9368" tIns="59843" rIns="69368" bIns="59843" numCol="1" spcCol="1270" anchor="ctr" anchorCtr="0">
            <a:noAutofit/>
          </a:bodyPr>
          <a:lstStyle/>
          <a:p>
            <a:pPr marL="0" lvl="0" indent="0" algn="ctr" defTabSz="666750">
              <a:lnSpc>
                <a:spcPct val="90000"/>
              </a:lnSpc>
              <a:spcBef>
                <a:spcPct val="0"/>
              </a:spcBef>
              <a:spcAft>
                <a:spcPct val="35000"/>
              </a:spcAft>
              <a:buNone/>
            </a:pPr>
            <a:r>
              <a:rPr lang="en-US" sz="1500" u="sng" kern="1200" dirty="0"/>
              <a:t>Agg</a:t>
            </a:r>
            <a:r>
              <a:rPr lang="en-US" sz="1500" kern="1200" dirty="0"/>
              <a:t>regate resulting models (each of which is relatively weak) into a consensus model</a:t>
            </a:r>
          </a:p>
        </p:txBody>
      </p:sp>
      <p:sp>
        <p:nvSpPr>
          <p:cNvPr id="15" name="Freeform: Shape 14">
            <a:extLst>
              <a:ext uri="{FF2B5EF4-FFF2-40B4-BE49-F238E27FC236}">
                <a16:creationId xmlns:a16="http://schemas.microsoft.com/office/drawing/2014/main" id="{035DE243-6543-4E00-AC36-71A725A7BB57}"/>
              </a:ext>
            </a:extLst>
          </p:cNvPr>
          <p:cNvSpPr/>
          <p:nvPr/>
        </p:nvSpPr>
        <p:spPr>
          <a:xfrm>
            <a:off x="8762738" y="991636"/>
            <a:ext cx="2785558" cy="1392779"/>
          </a:xfrm>
          <a:custGeom>
            <a:avLst/>
            <a:gdLst>
              <a:gd name="connsiteX0" fmla="*/ 0 w 2785558"/>
              <a:gd name="connsiteY0" fmla="*/ 139278 h 1392779"/>
              <a:gd name="connsiteX1" fmla="*/ 139278 w 2785558"/>
              <a:gd name="connsiteY1" fmla="*/ 0 h 1392779"/>
              <a:gd name="connsiteX2" fmla="*/ 2646280 w 2785558"/>
              <a:gd name="connsiteY2" fmla="*/ 0 h 1392779"/>
              <a:gd name="connsiteX3" fmla="*/ 2785558 w 2785558"/>
              <a:gd name="connsiteY3" fmla="*/ 139278 h 1392779"/>
              <a:gd name="connsiteX4" fmla="*/ 2785558 w 2785558"/>
              <a:gd name="connsiteY4" fmla="*/ 1253501 h 1392779"/>
              <a:gd name="connsiteX5" fmla="*/ 2646280 w 2785558"/>
              <a:gd name="connsiteY5" fmla="*/ 1392779 h 1392779"/>
              <a:gd name="connsiteX6" fmla="*/ 139278 w 2785558"/>
              <a:gd name="connsiteY6" fmla="*/ 1392779 h 1392779"/>
              <a:gd name="connsiteX7" fmla="*/ 0 w 2785558"/>
              <a:gd name="connsiteY7" fmla="*/ 1253501 h 1392779"/>
              <a:gd name="connsiteX8" fmla="*/ 0 w 2785558"/>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5558" h="1392779">
                <a:moveTo>
                  <a:pt x="0" y="139278"/>
                </a:moveTo>
                <a:cubicBezTo>
                  <a:pt x="0" y="62357"/>
                  <a:pt x="62357" y="0"/>
                  <a:pt x="139278" y="0"/>
                </a:cubicBezTo>
                <a:lnTo>
                  <a:pt x="2646280" y="0"/>
                </a:lnTo>
                <a:cubicBezTo>
                  <a:pt x="2723201" y="0"/>
                  <a:pt x="2785558" y="62357"/>
                  <a:pt x="2785558" y="139278"/>
                </a:cubicBezTo>
                <a:lnTo>
                  <a:pt x="2785558" y="1253501"/>
                </a:lnTo>
                <a:cubicBezTo>
                  <a:pt x="2785558" y="1330422"/>
                  <a:pt x="2723201" y="1392779"/>
                  <a:pt x="2646280" y="1392779"/>
                </a:cubicBezTo>
                <a:lnTo>
                  <a:pt x="139278" y="1392779"/>
                </a:lnTo>
                <a:cubicBezTo>
                  <a:pt x="62357" y="1392779"/>
                  <a:pt x="0" y="1330422"/>
                  <a:pt x="0" y="1253501"/>
                </a:cubicBezTo>
                <a:lnTo>
                  <a:pt x="0" y="139278"/>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shade val="80000"/>
              <a:hueOff val="349283"/>
              <a:satOff val="-6256"/>
              <a:lumOff val="26585"/>
              <a:alphaOff val="0"/>
            </a:schemeClr>
          </a:fillRef>
          <a:effectRef idx="1">
            <a:schemeClr val="accent1">
              <a:shade val="80000"/>
              <a:hueOff val="349283"/>
              <a:satOff val="-6256"/>
              <a:lumOff val="26585"/>
              <a:alphaOff val="0"/>
            </a:schemeClr>
          </a:effectRef>
          <a:fontRef idx="minor">
            <a:schemeClr val="dk1"/>
          </a:fontRef>
        </p:style>
        <p:txBody>
          <a:bodyPr spcFirstLastPara="0" vert="horz" wrap="square" lIns="97943" tIns="78893" rIns="97943" bIns="78893" numCol="1" spcCol="1270" anchor="ctr" anchorCtr="0">
            <a:noAutofit/>
          </a:bodyPr>
          <a:lstStyle/>
          <a:p>
            <a:pPr marL="0" lvl="0" indent="0" algn="ctr" defTabSz="1333500">
              <a:lnSpc>
                <a:spcPct val="90000"/>
              </a:lnSpc>
              <a:spcBef>
                <a:spcPct val="0"/>
              </a:spcBef>
              <a:spcAft>
                <a:spcPct val="35000"/>
              </a:spcAft>
              <a:buNone/>
            </a:pPr>
            <a:r>
              <a:rPr lang="en-US" sz="3000" kern="1200"/>
              <a:t>Random Feature Selection</a:t>
            </a:r>
          </a:p>
        </p:txBody>
      </p:sp>
      <p:sp>
        <p:nvSpPr>
          <p:cNvPr id="16" name="Freeform: Shape 15">
            <a:extLst>
              <a:ext uri="{FF2B5EF4-FFF2-40B4-BE49-F238E27FC236}">
                <a16:creationId xmlns:a16="http://schemas.microsoft.com/office/drawing/2014/main" id="{E3C0CE85-9265-4FCC-87FC-A53A68F1A146}"/>
              </a:ext>
            </a:extLst>
          </p:cNvPr>
          <p:cNvSpPr/>
          <p:nvPr/>
        </p:nvSpPr>
        <p:spPr>
          <a:xfrm>
            <a:off x="9041294" y="2384415"/>
            <a:ext cx="278555" cy="1044584"/>
          </a:xfrm>
          <a:custGeom>
            <a:avLst/>
            <a:gdLst/>
            <a:ahLst/>
            <a:cxnLst/>
            <a:rect l="0" t="0" r="0" b="0"/>
            <a:pathLst>
              <a:path>
                <a:moveTo>
                  <a:pt x="0" y="0"/>
                </a:moveTo>
                <a:lnTo>
                  <a:pt x="0" y="1044584"/>
                </a:lnTo>
                <a:lnTo>
                  <a:pt x="278555" y="1044584"/>
                </a:lnTo>
              </a:path>
            </a:pathLst>
          </a:custGeom>
          <a:noFill/>
        </p:spPr>
        <p:style>
          <a:lnRef idx="2">
            <a:schemeClr val="accent1">
              <a:tint val="99000"/>
              <a:hueOff val="0"/>
              <a:satOff val="0"/>
              <a:lumOff val="0"/>
              <a:alphaOff val="0"/>
            </a:schemeClr>
          </a:lnRef>
          <a:fillRef idx="0">
            <a:scrgbClr r="0" g="0" b="0"/>
          </a:fillRef>
          <a:effectRef idx="0">
            <a:schemeClr val="accent1">
              <a:tint val="99000"/>
              <a:hueOff val="0"/>
              <a:satOff val="0"/>
              <a:lumOff val="0"/>
              <a:alphaOff val="0"/>
            </a:schemeClr>
          </a:effectRef>
          <a:fontRef idx="minor">
            <a:schemeClr val="tx1">
              <a:hueOff val="0"/>
              <a:satOff val="0"/>
              <a:lumOff val="0"/>
              <a:alphaOff val="0"/>
            </a:schemeClr>
          </a:fontRef>
        </p:style>
      </p:sp>
      <p:sp>
        <p:nvSpPr>
          <p:cNvPr id="17" name="Freeform: Shape 16">
            <a:extLst>
              <a:ext uri="{FF2B5EF4-FFF2-40B4-BE49-F238E27FC236}">
                <a16:creationId xmlns:a16="http://schemas.microsoft.com/office/drawing/2014/main" id="{1457BF6E-047F-45F5-9E3C-E7B22F1BFCEC}"/>
              </a:ext>
            </a:extLst>
          </p:cNvPr>
          <p:cNvSpPr/>
          <p:nvPr/>
        </p:nvSpPr>
        <p:spPr>
          <a:xfrm>
            <a:off x="9319850" y="2732610"/>
            <a:ext cx="2228447" cy="1392779"/>
          </a:xfrm>
          <a:custGeom>
            <a:avLst/>
            <a:gdLst>
              <a:gd name="connsiteX0" fmla="*/ 0 w 2228447"/>
              <a:gd name="connsiteY0" fmla="*/ 139278 h 1392779"/>
              <a:gd name="connsiteX1" fmla="*/ 139278 w 2228447"/>
              <a:gd name="connsiteY1" fmla="*/ 0 h 1392779"/>
              <a:gd name="connsiteX2" fmla="*/ 2089169 w 2228447"/>
              <a:gd name="connsiteY2" fmla="*/ 0 h 1392779"/>
              <a:gd name="connsiteX3" fmla="*/ 2228447 w 2228447"/>
              <a:gd name="connsiteY3" fmla="*/ 139278 h 1392779"/>
              <a:gd name="connsiteX4" fmla="*/ 2228447 w 2228447"/>
              <a:gd name="connsiteY4" fmla="*/ 1253501 h 1392779"/>
              <a:gd name="connsiteX5" fmla="*/ 2089169 w 2228447"/>
              <a:gd name="connsiteY5" fmla="*/ 1392779 h 1392779"/>
              <a:gd name="connsiteX6" fmla="*/ 139278 w 2228447"/>
              <a:gd name="connsiteY6" fmla="*/ 1392779 h 1392779"/>
              <a:gd name="connsiteX7" fmla="*/ 0 w 2228447"/>
              <a:gd name="connsiteY7" fmla="*/ 1253501 h 1392779"/>
              <a:gd name="connsiteX8" fmla="*/ 0 w 2228447"/>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447" h="1392779">
                <a:moveTo>
                  <a:pt x="0" y="139278"/>
                </a:moveTo>
                <a:cubicBezTo>
                  <a:pt x="0" y="62357"/>
                  <a:pt x="62357" y="0"/>
                  <a:pt x="139278" y="0"/>
                </a:cubicBezTo>
                <a:lnTo>
                  <a:pt x="2089169" y="0"/>
                </a:lnTo>
                <a:cubicBezTo>
                  <a:pt x="2166090" y="0"/>
                  <a:pt x="2228447" y="62357"/>
                  <a:pt x="2228447" y="139278"/>
                </a:cubicBezTo>
                <a:lnTo>
                  <a:pt x="2228447" y="1253501"/>
                </a:lnTo>
                <a:cubicBezTo>
                  <a:pt x="2228447" y="1330422"/>
                  <a:pt x="2166090" y="1392779"/>
                  <a:pt x="2089169" y="1392779"/>
                </a:cubicBezTo>
                <a:lnTo>
                  <a:pt x="139278" y="1392779"/>
                </a:lnTo>
                <a:cubicBezTo>
                  <a:pt x="62357" y="1392779"/>
                  <a:pt x="0" y="1330422"/>
                  <a:pt x="0" y="1253501"/>
                </a:cubicBezTo>
                <a:lnTo>
                  <a:pt x="0" y="139278"/>
                </a:lnTo>
                <a:close/>
              </a:path>
            </a:pathLst>
          </a:custGeom>
        </p:spPr>
        <p:style>
          <a:lnRef idx="1">
            <a:schemeClr val="accent1">
              <a:shade val="80000"/>
              <a:hueOff val="232855"/>
              <a:satOff val="-4171"/>
              <a:lumOff val="1772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9368" tIns="59843" rIns="69368" bIns="59843" numCol="1" spcCol="1270" anchor="ctr" anchorCtr="0">
            <a:noAutofit/>
          </a:bodyPr>
          <a:lstStyle/>
          <a:p>
            <a:pPr marL="0" lvl="0" indent="0" algn="ctr" defTabSz="666750">
              <a:lnSpc>
                <a:spcPct val="90000"/>
              </a:lnSpc>
              <a:spcBef>
                <a:spcPct val="0"/>
              </a:spcBef>
              <a:spcAft>
                <a:spcPct val="35000"/>
              </a:spcAft>
              <a:buNone/>
            </a:pPr>
            <a:r>
              <a:rPr lang="en-US" sz="1500" kern="1200"/>
              <a:t>At each potential split, the algorithm randomly chooses a subset of all available predictors from which to select the best</a:t>
            </a:r>
          </a:p>
        </p:txBody>
      </p:sp>
      <p:sp>
        <p:nvSpPr>
          <p:cNvPr id="18" name="Freeform: Shape 17">
            <a:extLst>
              <a:ext uri="{FF2B5EF4-FFF2-40B4-BE49-F238E27FC236}">
                <a16:creationId xmlns:a16="http://schemas.microsoft.com/office/drawing/2014/main" id="{8739E261-598D-423B-8F93-EE5E0FB12E41}"/>
              </a:ext>
            </a:extLst>
          </p:cNvPr>
          <p:cNvSpPr/>
          <p:nvPr/>
        </p:nvSpPr>
        <p:spPr>
          <a:xfrm>
            <a:off x="9041294" y="2384415"/>
            <a:ext cx="278555" cy="2785558"/>
          </a:xfrm>
          <a:custGeom>
            <a:avLst/>
            <a:gdLst/>
            <a:ahLst/>
            <a:cxnLst/>
            <a:rect l="0" t="0" r="0" b="0"/>
            <a:pathLst>
              <a:path>
                <a:moveTo>
                  <a:pt x="0" y="0"/>
                </a:moveTo>
                <a:lnTo>
                  <a:pt x="0" y="2785558"/>
                </a:lnTo>
                <a:lnTo>
                  <a:pt x="278555" y="2785558"/>
                </a:lnTo>
              </a:path>
            </a:pathLst>
          </a:custGeom>
          <a:noFill/>
        </p:spPr>
        <p:style>
          <a:lnRef idx="2">
            <a:schemeClr val="accent1">
              <a:tint val="99000"/>
              <a:hueOff val="0"/>
              <a:satOff val="0"/>
              <a:lumOff val="0"/>
              <a:alphaOff val="0"/>
            </a:schemeClr>
          </a:lnRef>
          <a:fillRef idx="0">
            <a:scrgbClr r="0" g="0" b="0"/>
          </a:fillRef>
          <a:effectRef idx="0">
            <a:schemeClr val="accent1">
              <a:tint val="99000"/>
              <a:hueOff val="0"/>
              <a:satOff val="0"/>
              <a:lumOff val="0"/>
              <a:alphaOff val="0"/>
            </a:schemeClr>
          </a:effectRef>
          <a:fontRef idx="minor">
            <a:schemeClr val="tx1">
              <a:hueOff val="0"/>
              <a:satOff val="0"/>
              <a:lumOff val="0"/>
              <a:alphaOff val="0"/>
            </a:schemeClr>
          </a:fontRef>
        </p:style>
      </p:sp>
      <p:sp>
        <p:nvSpPr>
          <p:cNvPr id="19" name="Freeform: Shape 18">
            <a:extLst>
              <a:ext uri="{FF2B5EF4-FFF2-40B4-BE49-F238E27FC236}">
                <a16:creationId xmlns:a16="http://schemas.microsoft.com/office/drawing/2014/main" id="{2803B7A9-1ADE-4704-ADC4-D51401786800}"/>
              </a:ext>
            </a:extLst>
          </p:cNvPr>
          <p:cNvSpPr/>
          <p:nvPr/>
        </p:nvSpPr>
        <p:spPr>
          <a:xfrm>
            <a:off x="9319850" y="4473585"/>
            <a:ext cx="2228447" cy="1392779"/>
          </a:xfrm>
          <a:custGeom>
            <a:avLst/>
            <a:gdLst>
              <a:gd name="connsiteX0" fmla="*/ 0 w 2228447"/>
              <a:gd name="connsiteY0" fmla="*/ 139278 h 1392779"/>
              <a:gd name="connsiteX1" fmla="*/ 139278 w 2228447"/>
              <a:gd name="connsiteY1" fmla="*/ 0 h 1392779"/>
              <a:gd name="connsiteX2" fmla="*/ 2089169 w 2228447"/>
              <a:gd name="connsiteY2" fmla="*/ 0 h 1392779"/>
              <a:gd name="connsiteX3" fmla="*/ 2228447 w 2228447"/>
              <a:gd name="connsiteY3" fmla="*/ 139278 h 1392779"/>
              <a:gd name="connsiteX4" fmla="*/ 2228447 w 2228447"/>
              <a:gd name="connsiteY4" fmla="*/ 1253501 h 1392779"/>
              <a:gd name="connsiteX5" fmla="*/ 2089169 w 2228447"/>
              <a:gd name="connsiteY5" fmla="*/ 1392779 h 1392779"/>
              <a:gd name="connsiteX6" fmla="*/ 139278 w 2228447"/>
              <a:gd name="connsiteY6" fmla="*/ 1392779 h 1392779"/>
              <a:gd name="connsiteX7" fmla="*/ 0 w 2228447"/>
              <a:gd name="connsiteY7" fmla="*/ 1253501 h 1392779"/>
              <a:gd name="connsiteX8" fmla="*/ 0 w 2228447"/>
              <a:gd name="connsiteY8" fmla="*/ 139278 h 139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447" h="1392779">
                <a:moveTo>
                  <a:pt x="0" y="139278"/>
                </a:moveTo>
                <a:cubicBezTo>
                  <a:pt x="0" y="62357"/>
                  <a:pt x="62357" y="0"/>
                  <a:pt x="139278" y="0"/>
                </a:cubicBezTo>
                <a:lnTo>
                  <a:pt x="2089169" y="0"/>
                </a:lnTo>
                <a:cubicBezTo>
                  <a:pt x="2166090" y="0"/>
                  <a:pt x="2228447" y="62357"/>
                  <a:pt x="2228447" y="139278"/>
                </a:cubicBezTo>
                <a:lnTo>
                  <a:pt x="2228447" y="1253501"/>
                </a:lnTo>
                <a:cubicBezTo>
                  <a:pt x="2228447" y="1330422"/>
                  <a:pt x="2166090" y="1392779"/>
                  <a:pt x="2089169" y="1392779"/>
                </a:cubicBezTo>
                <a:lnTo>
                  <a:pt x="139278" y="1392779"/>
                </a:lnTo>
                <a:cubicBezTo>
                  <a:pt x="62357" y="1392779"/>
                  <a:pt x="0" y="1330422"/>
                  <a:pt x="0" y="1253501"/>
                </a:cubicBezTo>
                <a:lnTo>
                  <a:pt x="0" y="139278"/>
                </a:lnTo>
                <a:close/>
              </a:path>
            </a:pathLst>
          </a:custGeom>
        </p:spPr>
        <p:style>
          <a:lnRef idx="1">
            <a:schemeClr val="accent1">
              <a:shade val="80000"/>
              <a:hueOff val="349283"/>
              <a:satOff val="-6256"/>
              <a:lumOff val="2658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9368" tIns="59843" rIns="69368" bIns="59843" numCol="1" spcCol="1270" anchor="ctr" anchorCtr="0">
            <a:noAutofit/>
          </a:bodyPr>
          <a:lstStyle/>
          <a:p>
            <a:pPr marL="0" lvl="0" indent="0" algn="ctr" defTabSz="666750">
              <a:lnSpc>
                <a:spcPct val="90000"/>
              </a:lnSpc>
              <a:spcBef>
                <a:spcPct val="0"/>
              </a:spcBef>
              <a:spcAft>
                <a:spcPct val="35000"/>
              </a:spcAft>
              <a:buNone/>
            </a:pPr>
            <a:r>
              <a:rPr lang="en-US" sz="1500" kern="1200"/>
              <a:t>Forces the model to be less greedy and uncover potentially deeper interactions masked by strong predictors</a:t>
            </a:r>
          </a:p>
        </p:txBody>
      </p:sp>
      <p:sp>
        <p:nvSpPr>
          <p:cNvPr id="4" name="Title 3">
            <a:extLst>
              <a:ext uri="{FF2B5EF4-FFF2-40B4-BE49-F238E27FC236}">
                <a16:creationId xmlns:a16="http://schemas.microsoft.com/office/drawing/2014/main" id="{7103D235-A253-4988-8DB5-8683556A3C40}"/>
              </a:ext>
            </a:extLst>
          </p:cNvPr>
          <p:cNvSpPr>
            <a:spLocks noGrp="1"/>
          </p:cNvSpPr>
          <p:nvPr>
            <p:ph type="title"/>
          </p:nvPr>
        </p:nvSpPr>
        <p:spPr/>
        <p:txBody>
          <a:bodyPr/>
          <a:lstStyle/>
          <a:p>
            <a:r>
              <a:rPr lang="en-US" dirty="0"/>
              <a:t>Random Forest</a:t>
            </a:r>
          </a:p>
        </p:txBody>
      </p:sp>
      <p:grpSp>
        <p:nvGrpSpPr>
          <p:cNvPr id="20" name="Group 19">
            <a:extLst>
              <a:ext uri="{FF2B5EF4-FFF2-40B4-BE49-F238E27FC236}">
                <a16:creationId xmlns:a16="http://schemas.microsoft.com/office/drawing/2014/main" id="{11D100C2-6559-4E2C-A2BE-E06A37EA04B6}"/>
              </a:ext>
            </a:extLst>
          </p:cNvPr>
          <p:cNvGrpSpPr/>
          <p:nvPr/>
        </p:nvGrpSpPr>
        <p:grpSpPr>
          <a:xfrm>
            <a:off x="699834" y="1803312"/>
            <a:ext cx="3945514" cy="4001821"/>
            <a:chOff x="4205905" y="301083"/>
            <a:chExt cx="6431172" cy="6522953"/>
          </a:xfrm>
        </p:grpSpPr>
        <p:pic>
          <p:nvPicPr>
            <p:cNvPr id="21" name="Picture 20">
              <a:extLst>
                <a:ext uri="{FF2B5EF4-FFF2-40B4-BE49-F238E27FC236}">
                  <a16:creationId xmlns:a16="http://schemas.microsoft.com/office/drawing/2014/main" id="{588CE964-FAB8-40E8-A389-892D3AB3A88F}"/>
                </a:ext>
              </a:extLst>
            </p:cNvPr>
            <p:cNvPicPr>
              <a:picLocks noChangeAspect="1"/>
            </p:cNvPicPr>
            <p:nvPr/>
          </p:nvPicPr>
          <p:blipFill>
            <a:blip r:embed="rId2"/>
            <a:stretch>
              <a:fillRect/>
            </a:stretch>
          </p:blipFill>
          <p:spPr>
            <a:xfrm>
              <a:off x="6337456" y="3428435"/>
              <a:ext cx="2098670" cy="3395601"/>
            </a:xfrm>
            <a:prstGeom prst="rect">
              <a:avLst/>
            </a:prstGeom>
          </p:spPr>
        </p:pic>
        <p:pic>
          <p:nvPicPr>
            <p:cNvPr id="22" name="Picture 21">
              <a:extLst>
                <a:ext uri="{FF2B5EF4-FFF2-40B4-BE49-F238E27FC236}">
                  <a16:creationId xmlns:a16="http://schemas.microsoft.com/office/drawing/2014/main" id="{01756329-967B-4048-89A4-57788343C9AA}"/>
                </a:ext>
              </a:extLst>
            </p:cNvPr>
            <p:cNvPicPr>
              <a:picLocks noChangeAspect="1"/>
            </p:cNvPicPr>
            <p:nvPr/>
          </p:nvPicPr>
          <p:blipFill>
            <a:blip r:embed="rId3"/>
            <a:stretch>
              <a:fillRect/>
            </a:stretch>
          </p:blipFill>
          <p:spPr>
            <a:xfrm>
              <a:off x="6338293" y="306702"/>
              <a:ext cx="2098670" cy="3428999"/>
            </a:xfrm>
            <a:prstGeom prst="rect">
              <a:avLst/>
            </a:prstGeom>
          </p:spPr>
        </p:pic>
        <p:pic>
          <p:nvPicPr>
            <p:cNvPr id="23" name="Picture 22">
              <a:extLst>
                <a:ext uri="{FF2B5EF4-FFF2-40B4-BE49-F238E27FC236}">
                  <a16:creationId xmlns:a16="http://schemas.microsoft.com/office/drawing/2014/main" id="{516B0DCC-C9AE-4ED5-BC0D-9C37857D9F7B}"/>
                </a:ext>
              </a:extLst>
            </p:cNvPr>
            <p:cNvPicPr>
              <a:picLocks noChangeAspect="1"/>
            </p:cNvPicPr>
            <p:nvPr/>
          </p:nvPicPr>
          <p:blipFill>
            <a:blip r:embed="rId4"/>
            <a:stretch>
              <a:fillRect/>
            </a:stretch>
          </p:blipFill>
          <p:spPr>
            <a:xfrm>
              <a:off x="8411146" y="308252"/>
              <a:ext cx="2225931" cy="3437899"/>
            </a:xfrm>
            <a:prstGeom prst="rect">
              <a:avLst/>
            </a:prstGeom>
          </p:spPr>
        </p:pic>
        <p:pic>
          <p:nvPicPr>
            <p:cNvPr id="24" name="Picture 23">
              <a:extLst>
                <a:ext uri="{FF2B5EF4-FFF2-40B4-BE49-F238E27FC236}">
                  <a16:creationId xmlns:a16="http://schemas.microsoft.com/office/drawing/2014/main" id="{EB3BFAE5-0B96-4FF3-8AD8-D98998A5895B}"/>
                </a:ext>
              </a:extLst>
            </p:cNvPr>
            <p:cNvPicPr>
              <a:picLocks noChangeAspect="1"/>
            </p:cNvPicPr>
            <p:nvPr/>
          </p:nvPicPr>
          <p:blipFill>
            <a:blip r:embed="rId5"/>
            <a:stretch>
              <a:fillRect/>
            </a:stretch>
          </p:blipFill>
          <p:spPr>
            <a:xfrm>
              <a:off x="4205905" y="3730083"/>
              <a:ext cx="2126487" cy="3083503"/>
            </a:xfrm>
            <a:prstGeom prst="rect">
              <a:avLst/>
            </a:prstGeom>
          </p:spPr>
        </p:pic>
        <p:pic>
          <p:nvPicPr>
            <p:cNvPr id="25" name="Picture 24">
              <a:extLst>
                <a:ext uri="{FF2B5EF4-FFF2-40B4-BE49-F238E27FC236}">
                  <a16:creationId xmlns:a16="http://schemas.microsoft.com/office/drawing/2014/main" id="{0114ED6F-7763-4186-B053-763BACABA8AA}"/>
                </a:ext>
              </a:extLst>
            </p:cNvPr>
            <p:cNvPicPr>
              <a:picLocks noChangeAspect="1"/>
            </p:cNvPicPr>
            <p:nvPr/>
          </p:nvPicPr>
          <p:blipFill>
            <a:blip r:embed="rId6"/>
            <a:stretch>
              <a:fillRect/>
            </a:stretch>
          </p:blipFill>
          <p:spPr>
            <a:xfrm>
              <a:off x="4213112" y="301083"/>
              <a:ext cx="2117974" cy="3429000"/>
            </a:xfrm>
            <a:prstGeom prst="rect">
              <a:avLst/>
            </a:prstGeom>
          </p:spPr>
        </p:pic>
        <p:pic>
          <p:nvPicPr>
            <p:cNvPr id="26" name="Picture 25">
              <a:extLst>
                <a:ext uri="{FF2B5EF4-FFF2-40B4-BE49-F238E27FC236}">
                  <a16:creationId xmlns:a16="http://schemas.microsoft.com/office/drawing/2014/main" id="{EECDFC9E-B33C-4590-8F9E-BD63DB0C03FD}"/>
                </a:ext>
              </a:extLst>
            </p:cNvPr>
            <p:cNvPicPr>
              <a:picLocks noChangeAspect="1"/>
            </p:cNvPicPr>
            <p:nvPr/>
          </p:nvPicPr>
          <p:blipFill rotWithShape="1">
            <a:blip r:embed="rId7"/>
            <a:srcRect t="-8982" b="8982"/>
            <a:stretch/>
          </p:blipFill>
          <p:spPr>
            <a:xfrm>
              <a:off x="8411146" y="3409406"/>
              <a:ext cx="2225931" cy="3410880"/>
            </a:xfrm>
            <a:prstGeom prst="rect">
              <a:avLst/>
            </a:prstGeom>
          </p:spPr>
        </p:pic>
      </p:grpSp>
      <p:sp>
        <p:nvSpPr>
          <p:cNvPr id="5" name="TextBox 4">
            <a:extLst>
              <a:ext uri="{FF2B5EF4-FFF2-40B4-BE49-F238E27FC236}">
                <a16:creationId xmlns:a16="http://schemas.microsoft.com/office/drawing/2014/main" id="{53919A94-E6E1-4D9C-8461-62921ABE9E1D}"/>
              </a:ext>
            </a:extLst>
          </p:cNvPr>
          <p:cNvSpPr txBox="1"/>
          <p:nvPr/>
        </p:nvSpPr>
        <p:spPr>
          <a:xfrm>
            <a:off x="2377441" y="5941693"/>
            <a:ext cx="2311851" cy="261610"/>
          </a:xfrm>
          <a:prstGeom prst="rect">
            <a:avLst/>
          </a:prstGeom>
          <a:noFill/>
        </p:spPr>
        <p:txBody>
          <a:bodyPr wrap="none" rtlCol="0">
            <a:spAutoFit/>
          </a:bodyPr>
          <a:lstStyle/>
          <a:p>
            <a:r>
              <a:rPr lang="en-US" sz="1100" dirty="0"/>
              <a:t>Enchanted Forest, Pitlochry, Scotland</a:t>
            </a:r>
          </a:p>
        </p:txBody>
      </p:sp>
    </p:spTree>
    <p:extLst>
      <p:ext uri="{BB962C8B-B14F-4D97-AF65-F5344CB8AC3E}">
        <p14:creationId xmlns:p14="http://schemas.microsoft.com/office/powerpoint/2010/main" val="3854734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4" grpId="0" animBg="1"/>
      <p:bldP spid="15" grpId="0" animBg="1"/>
      <p:bldP spid="17" grpId="0" animBg="1"/>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0097" y="238047"/>
            <a:ext cx="8348472" cy="896112"/>
          </a:xfrm>
        </p:spPr>
        <p:txBody>
          <a:bodyPr/>
          <a:lstStyle/>
          <a:p>
            <a:r>
              <a:rPr lang="en-US" dirty="0"/>
              <a:t>Tuning Ensemble Models</a:t>
            </a:r>
          </a:p>
        </p:txBody>
      </p:sp>
      <p:sp>
        <p:nvSpPr>
          <p:cNvPr id="8" name="TextBox 7"/>
          <p:cNvSpPr txBox="1"/>
          <p:nvPr/>
        </p:nvSpPr>
        <p:spPr>
          <a:xfrm>
            <a:off x="10366074" y="5840512"/>
            <a:ext cx="1123321" cy="830997"/>
          </a:xfrm>
          <a:prstGeom prst="rect">
            <a:avLst/>
          </a:prstGeom>
          <a:noFill/>
        </p:spPr>
        <p:txBody>
          <a:bodyPr wrap="none" rtlCol="0">
            <a:spAutoFit/>
          </a:bodyPr>
          <a:lstStyle/>
          <a:p>
            <a:r>
              <a:rPr lang="en-US" sz="1600" b="1" dirty="0">
                <a:latin typeface="+mj-lt"/>
              </a:rPr>
              <a:t>R packages:</a:t>
            </a:r>
          </a:p>
          <a:p>
            <a:r>
              <a:rPr lang="en-US" sz="1600" dirty="0">
                <a:latin typeface="+mj-lt"/>
                <a:cs typeface="Courier New" panose="02070309020205020404" pitchFamily="49" charset="0"/>
              </a:rPr>
              <a:t>caret</a:t>
            </a:r>
          </a:p>
          <a:p>
            <a:r>
              <a:rPr lang="en-US" sz="1600" dirty="0" err="1">
                <a:latin typeface="+mj-lt"/>
                <a:cs typeface="Courier New" panose="02070309020205020404" pitchFamily="49" charset="0"/>
              </a:rPr>
              <a:t>Rborist</a:t>
            </a:r>
            <a:endParaRPr lang="en-US" sz="1600" dirty="0">
              <a:latin typeface="+mj-lt"/>
              <a:cs typeface="Courier New" panose="02070309020205020404" pitchFamily="49" charset="0"/>
            </a:endParaRPr>
          </a:p>
        </p:txBody>
      </p:sp>
      <p:sp>
        <p:nvSpPr>
          <p:cNvPr id="11" name="Content Placeholder 2">
            <a:extLst>
              <a:ext uri="{FF2B5EF4-FFF2-40B4-BE49-F238E27FC236}">
                <a16:creationId xmlns:a16="http://schemas.microsoft.com/office/drawing/2014/main" id="{7F81CE2F-B176-491A-875A-169095CFDD1D}"/>
              </a:ext>
            </a:extLst>
          </p:cNvPr>
          <p:cNvSpPr txBox="1">
            <a:spLocks/>
          </p:cNvSpPr>
          <p:nvPr/>
        </p:nvSpPr>
        <p:spPr>
          <a:xfrm>
            <a:off x="484982" y="1449840"/>
            <a:ext cx="5103692" cy="1872942"/>
          </a:xfrm>
          <a:prstGeom prst="homePlate">
            <a:avLst>
              <a:gd name="adj" fmla="val 29187"/>
            </a:avLst>
          </a:prstGeom>
          <a:ln/>
        </p:spPr>
        <p:style>
          <a:lnRef idx="1">
            <a:schemeClr val="dk1"/>
          </a:lnRef>
          <a:fillRef idx="2">
            <a:schemeClr val="dk1"/>
          </a:fillRef>
          <a:effectRef idx="1">
            <a:schemeClr val="dk1"/>
          </a:effectRef>
          <a:fontRef idx="minor">
            <a:schemeClr val="dk1"/>
          </a:fontRef>
        </p:style>
        <p:txBody>
          <a:bodyPr anchor="ctr" anchorCtr="0">
            <a:noAutofit/>
          </a:bodyPr>
          <a:lstStyle>
            <a:defPPr>
              <a:defRPr lang="en-US"/>
            </a:defPPr>
            <a:lvl1pPr marL="173736" indent="-173736" eaLnBrk="1" hangingPunct="1">
              <a:spcBef>
                <a:spcPts val="600"/>
              </a:spcBef>
              <a:buClr>
                <a:schemeClr val="tx2"/>
              </a:buClr>
              <a:buFont typeface="Arial" charset="0"/>
              <a:buChar char="•"/>
              <a:defRPr sz="1600">
                <a:solidFill>
                  <a:srgbClr val="414343"/>
                </a:solidFill>
                <a:latin typeface="+mn-lt"/>
              </a:defRPr>
            </a:lvl1pPr>
            <a:lvl2pPr indent="-234950" eaLnBrk="1" hangingPunct="1">
              <a:spcBef>
                <a:spcPct val="20000"/>
              </a:spcBef>
              <a:buFont typeface="Lucida Grande" charset="0"/>
              <a:buChar char="&gt;"/>
              <a:defRPr sz="1600">
                <a:solidFill>
                  <a:srgbClr val="414343"/>
                </a:solidFill>
                <a:latin typeface="+mn-lt"/>
              </a:defRPr>
            </a:lvl2pPr>
            <a:lvl3pPr marL="679450" indent="-222250" eaLnBrk="1" hangingPunct="1">
              <a:spcBef>
                <a:spcPct val="20000"/>
              </a:spcBef>
              <a:buFont typeface="Lucida Grande" charset="0"/>
              <a:buChar char="-"/>
              <a:defRPr sz="1600">
                <a:solidFill>
                  <a:srgbClr val="414343"/>
                </a:solidFill>
                <a:latin typeface="+mn-lt"/>
              </a:defRPr>
            </a:lvl3pPr>
            <a:lvl4pPr marL="914400" indent="-234950" eaLnBrk="1" hangingPunct="1">
              <a:spcBef>
                <a:spcPct val="20000"/>
              </a:spcBef>
              <a:buFont typeface="Arial" charset="0"/>
              <a:buChar char="»"/>
              <a:defRPr sz="1600">
                <a:solidFill>
                  <a:srgbClr val="414343"/>
                </a:solidFill>
                <a:latin typeface="+mn-lt"/>
              </a:defRPr>
            </a:lvl4pPr>
            <a:lvl5pPr marL="1144588" indent="-222250" eaLnBrk="1" hangingPunct="1">
              <a:spcBef>
                <a:spcPct val="20000"/>
              </a:spcBef>
              <a:buFont typeface="Arial" charset="0"/>
              <a:buChar char="•"/>
              <a:defRPr sz="1600">
                <a:solidFill>
                  <a:srgbClr val="414343"/>
                </a:solidFill>
                <a:latin typeface="+mn-lt"/>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r>
              <a:rPr lang="en-US" sz="2000" dirty="0">
                <a:solidFill>
                  <a:schemeClr val="tx1"/>
                </a:solidFill>
              </a:rPr>
              <a:t>The Random Forest has two key learning parameters to control:</a:t>
            </a:r>
          </a:p>
          <a:p>
            <a:pPr lvl="1"/>
            <a:r>
              <a:rPr lang="en-US" sz="2000" dirty="0">
                <a:solidFill>
                  <a:schemeClr val="tx1"/>
                </a:solidFill>
              </a:rPr>
              <a:t>complexity of individual trees</a:t>
            </a:r>
          </a:p>
          <a:p>
            <a:pPr lvl="1"/>
            <a:r>
              <a:rPr lang="en-US" sz="2000" dirty="0">
                <a:solidFill>
                  <a:schemeClr val="tx1"/>
                </a:solidFill>
              </a:rPr>
              <a:t>degree of random feature selection</a:t>
            </a:r>
          </a:p>
          <a:p>
            <a:r>
              <a:rPr lang="en-US" sz="2000" dirty="0">
                <a:solidFill>
                  <a:schemeClr val="tx1"/>
                </a:solidFill>
              </a:rPr>
              <a:t>The caret package in R helps “tune” them</a:t>
            </a:r>
          </a:p>
        </p:txBody>
      </p:sp>
      <p:pic>
        <p:nvPicPr>
          <p:cNvPr id="9" name="Picture 8">
            <a:extLst>
              <a:ext uri="{FF2B5EF4-FFF2-40B4-BE49-F238E27FC236}">
                <a16:creationId xmlns:a16="http://schemas.microsoft.com/office/drawing/2014/main" id="{81C6E456-4F10-4962-9F2A-727EDF8BA7E5}"/>
              </a:ext>
            </a:extLst>
          </p:cNvPr>
          <p:cNvPicPr>
            <a:picLocks noChangeAspect="1"/>
          </p:cNvPicPr>
          <p:nvPr/>
        </p:nvPicPr>
        <p:blipFill>
          <a:blip r:embed="rId2"/>
          <a:stretch>
            <a:fillRect/>
          </a:stretch>
        </p:blipFill>
        <p:spPr>
          <a:xfrm>
            <a:off x="653328" y="3638463"/>
            <a:ext cx="4531483" cy="2783238"/>
          </a:xfrm>
          <a:prstGeom prst="rect">
            <a:avLst/>
          </a:prstGeom>
        </p:spPr>
      </p:pic>
      <p:pic>
        <p:nvPicPr>
          <p:cNvPr id="10" name="Picture 9">
            <a:extLst>
              <a:ext uri="{FF2B5EF4-FFF2-40B4-BE49-F238E27FC236}">
                <a16:creationId xmlns:a16="http://schemas.microsoft.com/office/drawing/2014/main" id="{84280A24-302C-4A4C-8752-388714A38ACC}"/>
              </a:ext>
            </a:extLst>
          </p:cNvPr>
          <p:cNvPicPr>
            <a:picLocks noChangeAspect="1"/>
          </p:cNvPicPr>
          <p:nvPr/>
        </p:nvPicPr>
        <p:blipFill>
          <a:blip r:embed="rId3"/>
          <a:stretch>
            <a:fillRect/>
          </a:stretch>
        </p:blipFill>
        <p:spPr>
          <a:xfrm>
            <a:off x="5780065" y="1055989"/>
            <a:ext cx="5680939" cy="4533586"/>
          </a:xfrm>
          <a:prstGeom prst="rect">
            <a:avLst/>
          </a:prstGeom>
        </p:spPr>
      </p:pic>
    </p:spTree>
    <p:extLst>
      <p:ext uri="{BB962C8B-B14F-4D97-AF65-F5344CB8AC3E}">
        <p14:creationId xmlns:p14="http://schemas.microsoft.com/office/powerpoint/2010/main" val="3833098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6DAA84-2171-4392-AEA6-65470BBBA25D}"/>
              </a:ext>
            </a:extLst>
          </p:cNvPr>
          <p:cNvPicPr>
            <a:picLocks noChangeAspect="1"/>
          </p:cNvPicPr>
          <p:nvPr/>
        </p:nvPicPr>
        <p:blipFill>
          <a:blip r:embed="rId2"/>
          <a:stretch>
            <a:fillRect/>
          </a:stretch>
        </p:blipFill>
        <p:spPr>
          <a:xfrm>
            <a:off x="2892541" y="1549494"/>
            <a:ext cx="6406918" cy="4943381"/>
          </a:xfrm>
          <a:prstGeom prst="rect">
            <a:avLst/>
          </a:prstGeom>
        </p:spPr>
      </p:pic>
      <p:sp>
        <p:nvSpPr>
          <p:cNvPr id="2" name="Title 1"/>
          <p:cNvSpPr>
            <a:spLocks noGrp="1"/>
          </p:cNvSpPr>
          <p:nvPr>
            <p:ph type="title"/>
          </p:nvPr>
        </p:nvSpPr>
        <p:spPr/>
        <p:txBody>
          <a:bodyPr/>
          <a:lstStyle/>
          <a:p>
            <a:r>
              <a:rPr lang="en-US"/>
              <a:t>Now, how did we do?</a:t>
            </a:r>
            <a:endParaRPr lang="en-US" dirty="0"/>
          </a:p>
        </p:txBody>
      </p:sp>
      <p:sp>
        <p:nvSpPr>
          <p:cNvPr id="7" name="Arrow: Right 6"/>
          <p:cNvSpPr/>
          <p:nvPr/>
        </p:nvSpPr>
        <p:spPr>
          <a:xfrm rot="7679029">
            <a:off x="8358664" y="2444578"/>
            <a:ext cx="1367154" cy="420051"/>
          </a:xfrm>
          <a:prstGeom prst="rightArrow">
            <a:avLst/>
          </a:prstGeom>
          <a:solidFill>
            <a:schemeClr val="bg1">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9" name="Picture 2" descr="Image result for not bad meme">
            <a:extLst>
              <a:ext uri="{FF2B5EF4-FFF2-40B4-BE49-F238E27FC236}">
                <a16:creationId xmlns:a16="http://schemas.microsoft.com/office/drawing/2014/main" id="{FB6FF400-91DC-4E88-BCF9-C8D9847990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6875" y="632410"/>
            <a:ext cx="1581150" cy="15811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21AFBB5-84BC-46ED-AB93-452B820841C7}"/>
              </a:ext>
            </a:extLst>
          </p:cNvPr>
          <p:cNvPicPr>
            <a:picLocks noChangeAspect="1"/>
          </p:cNvPicPr>
          <p:nvPr/>
        </p:nvPicPr>
        <p:blipFill>
          <a:blip r:embed="rId4"/>
          <a:stretch>
            <a:fillRect/>
          </a:stretch>
        </p:blipFill>
        <p:spPr>
          <a:xfrm>
            <a:off x="9299459" y="2213561"/>
            <a:ext cx="1581151" cy="1296414"/>
          </a:xfrm>
          <a:prstGeom prst="rect">
            <a:avLst/>
          </a:prstGeom>
        </p:spPr>
      </p:pic>
    </p:spTree>
    <p:extLst>
      <p:ext uri="{BB962C8B-B14F-4D97-AF65-F5344CB8AC3E}">
        <p14:creationId xmlns:p14="http://schemas.microsoft.com/office/powerpoint/2010/main" val="762046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00A965-7708-4485-9A90-38E4379D8B92}"/>
              </a:ext>
            </a:extLst>
          </p:cNvPr>
          <p:cNvSpPr/>
          <p:nvPr/>
        </p:nvSpPr>
        <p:spPr>
          <a:xfrm>
            <a:off x="3833092" y="2283982"/>
            <a:ext cx="4798290" cy="2677656"/>
          </a:xfrm>
          <a:prstGeom prst="rect">
            <a:avLst/>
          </a:prstGeom>
        </p:spPr>
        <p:txBody>
          <a:bodyPr wrap="square">
            <a:spAutoFit/>
          </a:bodyPr>
          <a:lstStyle/>
          <a:p>
            <a:r>
              <a:rPr lang="en-US" sz="2800" dirty="0">
                <a:latin typeface="+mj-lt"/>
              </a:rPr>
              <a:t>Failures, repeated failures, are finger posts on the road to achievement. One fails forward toward success. </a:t>
            </a:r>
          </a:p>
          <a:p>
            <a:r>
              <a:rPr lang="en-US" sz="2800" dirty="0">
                <a:latin typeface="+mj-lt"/>
              </a:rPr>
              <a:t>		-- C. S. Lewis</a:t>
            </a:r>
            <a:br>
              <a:rPr lang="en-US" sz="2800" dirty="0">
                <a:latin typeface="+mj-lt"/>
              </a:rPr>
            </a:br>
            <a:endParaRPr lang="en-US" sz="2800" dirty="0">
              <a:latin typeface="+mj-lt"/>
            </a:endParaRPr>
          </a:p>
        </p:txBody>
      </p:sp>
    </p:spTree>
    <p:extLst>
      <p:ext uri="{BB962C8B-B14F-4D97-AF65-F5344CB8AC3E}">
        <p14:creationId xmlns:p14="http://schemas.microsoft.com/office/powerpoint/2010/main" val="29345014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969530"/>
          </a:xfrm>
        </p:spPr>
        <p:txBody>
          <a:bodyPr/>
          <a:lstStyle/>
          <a:p>
            <a:r>
              <a:rPr lang="en-US" dirty="0"/>
              <a:t>Boosting: Learning from Errors</a:t>
            </a:r>
          </a:p>
        </p:txBody>
      </p:sp>
      <p:sp>
        <p:nvSpPr>
          <p:cNvPr id="3" name="Content Placeholder 2">
            <a:extLst>
              <a:ext uri="{FF2B5EF4-FFF2-40B4-BE49-F238E27FC236}">
                <a16:creationId xmlns:a16="http://schemas.microsoft.com/office/drawing/2014/main" id="{93227CAA-7B03-4A17-923B-099D7F158BDC}"/>
              </a:ext>
            </a:extLst>
          </p:cNvPr>
          <p:cNvSpPr>
            <a:spLocks noGrp="1"/>
          </p:cNvSpPr>
          <p:nvPr>
            <p:ph sz="half" idx="1"/>
          </p:nvPr>
        </p:nvSpPr>
        <p:spPr/>
        <p:txBody>
          <a:bodyPr>
            <a:normAutofit/>
          </a:bodyPr>
          <a:lstStyle/>
          <a:p>
            <a:r>
              <a:rPr lang="en-US" dirty="0">
                <a:latin typeface="+mj-lt"/>
              </a:rPr>
              <a:t>Boosting algorithms construct a sequence of models, each new model responding to errors generated by previous models up to that point</a:t>
            </a:r>
          </a:p>
          <a:p>
            <a:pPr lvl="1"/>
            <a:r>
              <a:rPr lang="en-US" dirty="0">
                <a:latin typeface="+mj-lt"/>
              </a:rPr>
              <a:t>Upweight observations with poor predictions: </a:t>
            </a:r>
            <a:r>
              <a:rPr lang="en-US" dirty="0" err="1">
                <a:latin typeface="+mj-lt"/>
              </a:rPr>
              <a:t>adaboost</a:t>
            </a:r>
            <a:endParaRPr lang="en-US" dirty="0">
              <a:latin typeface="+mj-lt"/>
            </a:endParaRPr>
          </a:p>
          <a:p>
            <a:pPr lvl="1"/>
            <a:r>
              <a:rPr lang="en-US" dirty="0">
                <a:latin typeface="+mj-lt"/>
              </a:rPr>
              <a:t>Fit new model on the residuals of the previous model: gradient boosting</a:t>
            </a:r>
          </a:p>
        </p:txBody>
      </p:sp>
      <p:pic>
        <p:nvPicPr>
          <p:cNvPr id="6" name="Picture 5">
            <a:extLst>
              <a:ext uri="{FF2B5EF4-FFF2-40B4-BE49-F238E27FC236}">
                <a16:creationId xmlns:a16="http://schemas.microsoft.com/office/drawing/2014/main" id="{107EC737-24F3-4632-A2C3-65B803A3C2CB}"/>
              </a:ext>
            </a:extLst>
          </p:cNvPr>
          <p:cNvPicPr>
            <a:picLocks noChangeAspect="1"/>
          </p:cNvPicPr>
          <p:nvPr/>
        </p:nvPicPr>
        <p:blipFill>
          <a:blip r:embed="rId2"/>
          <a:stretch>
            <a:fillRect/>
          </a:stretch>
        </p:blipFill>
        <p:spPr>
          <a:xfrm>
            <a:off x="7190944" y="2363850"/>
            <a:ext cx="3610986" cy="2713482"/>
          </a:xfrm>
          <a:prstGeom prst="rect">
            <a:avLst/>
          </a:prstGeom>
        </p:spPr>
      </p:pic>
      <p:sp>
        <p:nvSpPr>
          <p:cNvPr id="7" name="TextBox 6">
            <a:extLst>
              <a:ext uri="{FF2B5EF4-FFF2-40B4-BE49-F238E27FC236}">
                <a16:creationId xmlns:a16="http://schemas.microsoft.com/office/drawing/2014/main" id="{E84F3BFE-F9CD-4DA4-8A31-5052EE6C0B98}"/>
              </a:ext>
            </a:extLst>
          </p:cNvPr>
          <p:cNvSpPr txBox="1"/>
          <p:nvPr/>
        </p:nvSpPr>
        <p:spPr>
          <a:xfrm>
            <a:off x="9481346" y="5077332"/>
            <a:ext cx="1399742" cy="261610"/>
          </a:xfrm>
          <a:prstGeom prst="rect">
            <a:avLst/>
          </a:prstGeom>
          <a:noFill/>
        </p:spPr>
        <p:txBody>
          <a:bodyPr wrap="none" rtlCol="0">
            <a:spAutoFit/>
          </a:bodyPr>
          <a:lstStyle/>
          <a:p>
            <a:r>
              <a:rPr lang="en-US" sz="1100" dirty="0">
                <a:latin typeface="+mj-lt"/>
              </a:rPr>
              <a:t>Thomas Edison, 1911</a:t>
            </a:r>
          </a:p>
        </p:txBody>
      </p:sp>
    </p:spTree>
    <p:extLst>
      <p:ext uri="{BB962C8B-B14F-4D97-AF65-F5344CB8AC3E}">
        <p14:creationId xmlns:p14="http://schemas.microsoft.com/office/powerpoint/2010/main" val="2153834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2B03-9BB4-4888-914A-EB52E825E270}"/>
              </a:ext>
            </a:extLst>
          </p:cNvPr>
          <p:cNvSpPr>
            <a:spLocks noGrp="1"/>
          </p:cNvSpPr>
          <p:nvPr>
            <p:ph type="title"/>
          </p:nvPr>
        </p:nvSpPr>
        <p:spPr>
          <a:xfrm>
            <a:off x="715129" y="685800"/>
            <a:ext cx="2577635" cy="5105400"/>
          </a:xfrm>
        </p:spPr>
        <p:txBody>
          <a:bodyPr>
            <a:normAutofit/>
          </a:bodyPr>
          <a:lstStyle/>
          <a:p>
            <a:r>
              <a:rPr lang="en-US" sz="4000" dirty="0">
                <a:solidFill>
                  <a:srgbClr val="FFFFFF"/>
                </a:solidFill>
              </a:rPr>
              <a:t>Key Learning Concepts</a:t>
            </a:r>
          </a:p>
        </p:txBody>
      </p:sp>
      <p:graphicFrame>
        <p:nvGraphicFramePr>
          <p:cNvPr id="5" name="Content Placeholder 2">
            <a:extLst>
              <a:ext uri="{FF2B5EF4-FFF2-40B4-BE49-F238E27FC236}">
                <a16:creationId xmlns:a16="http://schemas.microsoft.com/office/drawing/2014/main" id="{D70A5466-CF96-437D-A57D-899DD621FA10}"/>
              </a:ext>
            </a:extLst>
          </p:cNvPr>
          <p:cNvGraphicFramePr>
            <a:graphicFrameLocks noGrp="1"/>
          </p:cNvGraphicFramePr>
          <p:nvPr>
            <p:ph idx="1"/>
            <p:extLst>
              <p:ext uri="{D42A27DB-BD31-4B8C-83A1-F6EECF244321}">
                <p14:modId xmlns:p14="http://schemas.microsoft.com/office/powerpoint/2010/main" val="3811592549"/>
              </p:ext>
            </p:extLst>
          </p:nvPr>
        </p:nvGraphicFramePr>
        <p:xfrm>
          <a:off x="4107944" y="828963"/>
          <a:ext cx="6767875"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535437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6491" y="346654"/>
            <a:ext cx="4565073" cy="734002"/>
          </a:xfrm>
        </p:spPr>
        <p:txBody>
          <a:bodyPr/>
          <a:lstStyle/>
          <a:p>
            <a:r>
              <a:rPr lang="en-US" dirty="0"/>
              <a:t>Gradient Boosting</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3227CAA-7B03-4A17-923B-099D7F158BDC}"/>
                  </a:ext>
                </a:extLst>
              </p:cNvPr>
              <p:cNvSpPr>
                <a:spLocks noGrp="1"/>
              </p:cNvSpPr>
              <p:nvPr>
                <p:ph sz="half" idx="1"/>
              </p:nvPr>
            </p:nvSpPr>
            <p:spPr>
              <a:xfrm>
                <a:off x="480290" y="1371600"/>
                <a:ext cx="6026727" cy="4955309"/>
              </a:xfrm>
            </p:spPr>
            <p:txBody>
              <a:bodyPr>
                <a:normAutofit fontScale="85000" lnSpcReduction="20000"/>
              </a:bodyPr>
              <a:lstStyle/>
              <a:p>
                <a:r>
                  <a:rPr lang="en-US" sz="1800" dirty="0">
                    <a:latin typeface="+mj-lt"/>
                  </a:rPr>
                  <a:t>Consider a first approximation model: </a:t>
                </a:r>
                <a14:m>
                  <m:oMath xmlns:m="http://schemas.openxmlformats.org/officeDocument/2006/math">
                    <m:sSub>
                      <m:sSubPr>
                        <m:ctrlPr>
                          <a:rPr lang="en-US" sz="1800" b="0" i="1" dirty="0" smtClean="0">
                            <a:latin typeface="Cambria Math" panose="02040503050406030204" pitchFamily="18" charset="0"/>
                          </a:rPr>
                        </m:ctrlPr>
                      </m:sSubPr>
                      <m:e>
                        <m:acc>
                          <m:accPr>
                            <m:chr m:val="̂"/>
                            <m:ctrlPr>
                              <a:rPr lang="en-US" sz="1800" b="0" i="1" smtClean="0">
                                <a:latin typeface="Cambria Math" panose="02040503050406030204" pitchFamily="18" charset="0"/>
                              </a:rPr>
                            </m:ctrlPr>
                          </m:accPr>
                          <m:e>
                            <m:r>
                              <a:rPr lang="en-US" sz="1800" b="0" i="1" smtClean="0">
                                <a:latin typeface="Cambria Math" panose="02040503050406030204" pitchFamily="18" charset="0"/>
                              </a:rPr>
                              <m:t>𝑌</m:t>
                            </m:r>
                          </m:e>
                        </m:acc>
                      </m:e>
                      <m:sub>
                        <m:r>
                          <a:rPr lang="en-US" sz="1800" b="0" i="1" dirty="0" smtClean="0">
                            <a:latin typeface="Cambria Math" panose="02040503050406030204" pitchFamily="18" charset="0"/>
                          </a:rPr>
                          <m:t>1</m:t>
                        </m:r>
                      </m:sub>
                    </m:sSub>
                    <m:r>
                      <a:rPr lang="en-US" sz="1800" b="0" i="1" dirty="0" smtClean="0">
                        <a:latin typeface="Cambria Math" panose="02040503050406030204" pitchFamily="18" charset="0"/>
                      </a:rPr>
                      <m:t>=</m:t>
                    </m:r>
                    <m:sSub>
                      <m:sSubPr>
                        <m:ctrlPr>
                          <a:rPr lang="en-US" sz="1800" b="0" i="1" dirty="0" smtClean="0">
                            <a:latin typeface="Cambria Math" panose="02040503050406030204" pitchFamily="18" charset="0"/>
                          </a:rPr>
                        </m:ctrlPr>
                      </m:sSubPr>
                      <m:e>
                        <m:acc>
                          <m:accPr>
                            <m:chr m:val="̂"/>
                            <m:ctrlPr>
                              <a:rPr lang="en-US" sz="1800" b="0" i="1" dirty="0" smtClean="0">
                                <a:latin typeface="Cambria Math" panose="02040503050406030204" pitchFamily="18" charset="0"/>
                              </a:rPr>
                            </m:ctrlPr>
                          </m:accPr>
                          <m:e>
                            <m:r>
                              <a:rPr lang="en-US" sz="1800" b="0" i="1" dirty="0" smtClean="0">
                                <a:latin typeface="Cambria Math" panose="02040503050406030204" pitchFamily="18" charset="0"/>
                              </a:rPr>
                              <m:t>𝑓</m:t>
                            </m:r>
                          </m:e>
                        </m:acc>
                      </m:e>
                      <m:sub>
                        <m:r>
                          <a:rPr lang="en-US" sz="1800" b="0" i="1" dirty="0" smtClean="0">
                            <a:latin typeface="Cambria Math" panose="02040503050406030204" pitchFamily="18" charset="0"/>
                          </a:rPr>
                          <m:t>1</m:t>
                        </m:r>
                      </m:sub>
                    </m:sSub>
                    <m:r>
                      <a:rPr lang="en-US" sz="1800" b="0" i="1" dirty="0" smtClean="0">
                        <a:latin typeface="Cambria Math" panose="02040503050406030204" pitchFamily="18" charset="0"/>
                      </a:rPr>
                      <m:t>(</m:t>
                    </m:r>
                    <m:r>
                      <a:rPr lang="en-US" sz="1800" b="0" i="1" dirty="0" smtClean="0">
                        <a:latin typeface="Cambria Math" panose="02040503050406030204" pitchFamily="18" charset="0"/>
                      </a:rPr>
                      <m:t>𝑋</m:t>
                    </m:r>
                    <m:r>
                      <a:rPr lang="en-US" sz="1800" b="0" i="1" dirty="0" smtClean="0">
                        <a:latin typeface="Cambria Math" panose="02040503050406030204" pitchFamily="18" charset="0"/>
                      </a:rPr>
                      <m:t>)</m:t>
                    </m:r>
                  </m:oMath>
                </a14:m>
                <a:r>
                  <a:rPr lang="en-US" sz="1800" dirty="0">
                    <a:latin typeface="+mj-lt"/>
                  </a:rPr>
                  <a:t> chosen to minimize squared loss: </a:t>
                </a:r>
              </a:p>
              <a:p>
                <a:pPr marL="0" indent="0" algn="ctr">
                  <a:buNone/>
                </a:pPr>
                <a14:m>
                  <m:oMathPara xmlns:m="http://schemas.openxmlformats.org/officeDocument/2006/math">
                    <m:oMathParaPr>
                      <m:jc m:val="centerGroup"/>
                    </m:oMathParaPr>
                    <m:oMath xmlns:m="http://schemas.openxmlformats.org/officeDocument/2006/math">
                      <m:sSup>
                        <m:sSupPr>
                          <m:ctrlPr>
                            <a:rPr lang="en-US" sz="1800" b="0" i="1" smtClean="0">
                              <a:latin typeface="Cambria Math" panose="02040503050406030204" pitchFamily="18" charset="0"/>
                            </a:rPr>
                          </m:ctrlPr>
                        </m:sSupPr>
                        <m:e>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𝑌</m:t>
                              </m:r>
                              <m:r>
                                <a:rPr lang="en-US" sz="1800" b="0" i="1" smtClean="0">
                                  <a:latin typeface="Cambria Math" panose="02040503050406030204" pitchFamily="18" charset="0"/>
                                </a:rPr>
                                <m:t>−</m:t>
                              </m:r>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e>
                          </m:d>
                        </m:e>
                        <m:sup>
                          <m:r>
                            <a:rPr lang="en-US" sz="1800" b="0" i="1" smtClean="0">
                              <a:latin typeface="Cambria Math" panose="02040503050406030204" pitchFamily="18" charset="0"/>
                            </a:rPr>
                            <m:t>2</m:t>
                          </m:r>
                        </m:sup>
                      </m:sSup>
                    </m:oMath>
                  </m:oMathPara>
                </a14:m>
                <a:endParaRPr lang="en-US" sz="1800" dirty="0">
                  <a:latin typeface="+mj-lt"/>
                </a:endParaRPr>
              </a:p>
              <a:p>
                <a:pPr marL="0" indent="0">
                  <a:buNone/>
                </a:pPr>
                <a:r>
                  <a:rPr lang="en-US" sz="1800" dirty="0">
                    <a:latin typeface="+mj-lt"/>
                  </a:rPr>
                  <a:t>     Where </a:t>
                </a:r>
                <a14:m>
                  <m:oMath xmlns:m="http://schemas.openxmlformats.org/officeDocument/2006/math">
                    <m:r>
                      <a:rPr lang="en-US" sz="1800" b="0" i="1" smtClean="0">
                        <a:latin typeface="Cambria Math" panose="02040503050406030204" pitchFamily="18" charset="0"/>
                      </a:rPr>
                      <m:t>𝑌</m:t>
                    </m:r>
                    <m:r>
                      <a:rPr lang="en-US" sz="1800" b="0" i="1" smtClean="0">
                        <a:latin typeface="Cambria Math" panose="02040503050406030204" pitchFamily="18" charset="0"/>
                      </a:rPr>
                      <m:t>−</m:t>
                    </m:r>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𝑋</m:t>
                        </m:r>
                      </m:e>
                    </m:d>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𝜖</m:t>
                        </m:r>
                      </m:e>
                      <m:sub>
                        <m:r>
                          <a:rPr lang="en-US" sz="1800" b="0" i="1" smtClean="0">
                            <a:latin typeface="Cambria Math" panose="02040503050406030204" pitchFamily="18" charset="0"/>
                          </a:rPr>
                          <m:t>1</m:t>
                        </m:r>
                      </m:sub>
                    </m:sSub>
                  </m:oMath>
                </a14:m>
                <a:endParaRPr lang="en-US" sz="1800" dirty="0">
                  <a:latin typeface="+mj-lt"/>
                </a:endParaRPr>
              </a:p>
              <a:p>
                <a:r>
                  <a:rPr lang="en-US" sz="1800" dirty="0">
                    <a:latin typeface="+mj-lt"/>
                  </a:rPr>
                  <a:t>Imagine a perfect model </a:t>
                </a:r>
                <a14:m>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𝑓</m:t>
                        </m:r>
                      </m:e>
                      <m:sub>
                        <m:r>
                          <a:rPr lang="en-US" sz="1800" b="0" i="1" smtClean="0">
                            <a:latin typeface="Cambria Math" panose="02040503050406030204" pitchFamily="18" charset="0"/>
                          </a:rPr>
                          <m:t>∗</m:t>
                        </m:r>
                      </m:sub>
                    </m:sSub>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𝑋</m:t>
                        </m:r>
                      </m:e>
                    </m:d>
                  </m:oMath>
                </a14:m>
                <a:r>
                  <a:rPr lang="en-US" sz="1800" dirty="0">
                    <a:latin typeface="+mj-lt"/>
                  </a:rPr>
                  <a:t>that you could add to </a:t>
                </a:r>
                <a14:m>
                  <m:oMath xmlns:m="http://schemas.openxmlformats.org/officeDocument/2006/math">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𝑋</m:t>
                        </m:r>
                      </m:e>
                    </m:d>
                  </m:oMath>
                </a14:m>
                <a:r>
                  <a:rPr lang="en-US" sz="1800" dirty="0">
                    <a:latin typeface="+mj-lt"/>
                  </a:rPr>
                  <a:t> to yield perfect predictions. Using calculus of optimization:</a:t>
                </a:r>
              </a:p>
              <a:p>
                <a:pPr marL="0" indent="0">
                  <a:buNone/>
                </a:pPr>
                <a14:m>
                  <m:oMathPara xmlns:m="http://schemas.openxmlformats.org/officeDocument/2006/math">
                    <m:oMathParaPr>
                      <m:jc m:val="centerGroup"/>
                    </m:oMathParaPr>
                    <m:oMath xmlns:m="http://schemas.openxmlformats.org/officeDocument/2006/math">
                      <m:func>
                        <m:funcPr>
                          <m:ctrlPr>
                            <a:rPr lang="en-US" sz="1800" i="1" smtClean="0">
                              <a:latin typeface="Cambria Math" panose="02040503050406030204" pitchFamily="18" charset="0"/>
                            </a:rPr>
                          </m:ctrlPr>
                        </m:funcPr>
                        <m:fName>
                          <m:r>
                            <a:rPr lang="en-US" sz="1800" b="0" i="1" smtClean="0">
                              <a:latin typeface="Cambria Math" panose="02040503050406030204" pitchFamily="18" charset="0"/>
                            </a:rPr>
                            <m:t>𝑚𝑖𝑛</m:t>
                          </m:r>
                        </m:fName>
                        <m:e>
                          <m:sSup>
                            <m:sSupPr>
                              <m:ctrlPr>
                                <a:rPr lang="en-US" sz="1800" b="0" i="1" smtClean="0">
                                  <a:latin typeface="Cambria Math" panose="02040503050406030204" pitchFamily="18" charset="0"/>
                                </a:rPr>
                              </m:ctrlPr>
                            </m:sSupPr>
                            <m:e>
                              <m:d>
                                <m:dPr>
                                  <m:ctrlPr>
                                    <a:rPr lang="en-US" sz="1800" i="1" smtClean="0">
                                      <a:latin typeface="Cambria Math" panose="02040503050406030204" pitchFamily="18" charset="0"/>
                                    </a:rPr>
                                  </m:ctrlPr>
                                </m:dPr>
                                <m:e>
                                  <m:r>
                                    <a:rPr lang="en-US" sz="1800" b="0" i="1" smtClean="0">
                                      <a:latin typeface="Cambria Math" panose="02040503050406030204" pitchFamily="18" charset="0"/>
                                    </a:rPr>
                                    <m:t>𝑌</m:t>
                                  </m:r>
                                  <m:r>
                                    <a:rPr lang="en-US" sz="1800" b="0" i="1" smtClean="0">
                                      <a:latin typeface="Cambria Math" panose="02040503050406030204" pitchFamily="18" charset="0"/>
                                    </a:rPr>
                                    <m:t> −</m:t>
                                  </m:r>
                                  <m:d>
                                    <m:dPr>
                                      <m:ctrlPr>
                                        <a:rPr lang="en-US" sz="1800" b="0" i="1" smtClean="0">
                                          <a:latin typeface="Cambria Math" panose="02040503050406030204" pitchFamily="18" charset="0"/>
                                        </a:rPr>
                                      </m:ctrlPr>
                                    </m:dPr>
                                    <m:e>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r>
                                        <a:rPr lang="en-US" sz="1800" i="1">
                                          <a:latin typeface="Cambria Math" panose="02040503050406030204" pitchFamily="18" charset="0"/>
                                        </a:rPr>
                                        <m:t>+</m:t>
                                      </m:r>
                                      <m:sSub>
                                        <m:sSubPr>
                                          <m:ctrlPr>
                                            <a:rPr lang="en-US" sz="1800" i="1">
                                              <a:latin typeface="Cambria Math" panose="02040503050406030204" pitchFamily="18" charset="0"/>
                                            </a:rPr>
                                          </m:ctrlPr>
                                        </m:sSubPr>
                                        <m:e>
                                          <m:r>
                                            <a:rPr lang="en-US" sz="1800" i="1">
                                              <a:latin typeface="Cambria Math" panose="02040503050406030204" pitchFamily="18" charset="0"/>
                                            </a:rPr>
                                            <m:t>𝑓</m:t>
                                          </m:r>
                                        </m:e>
                                        <m:sub>
                                          <m:r>
                                            <a:rPr lang="en-US" sz="1800" b="0" i="1" smtClean="0">
                                              <a:latin typeface="Cambria Math" panose="02040503050406030204" pitchFamily="18" charset="0"/>
                                            </a:rPr>
                                            <m:t>∗</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e>
                                  </m:d>
                                </m:e>
                              </m:d>
                            </m:e>
                            <m:sup>
                              <m:r>
                                <a:rPr lang="en-US" sz="1800" b="0" i="1" smtClean="0">
                                  <a:latin typeface="Cambria Math" panose="02040503050406030204" pitchFamily="18" charset="0"/>
                                </a:rPr>
                                <m:t>2</m:t>
                              </m:r>
                            </m:sup>
                          </m:sSup>
                        </m:e>
                      </m:func>
                    </m:oMath>
                  </m:oMathPara>
                </a14:m>
                <a:endParaRPr lang="en-US" sz="1800" dirty="0">
                  <a:latin typeface="+mj-lt"/>
                </a:endParaRPr>
              </a:p>
              <a:p>
                <a:pPr marL="0" indent="0" algn="ctr">
                  <a:buNone/>
                </a:pPr>
                <a14:m>
                  <m:oMath xmlns:m="http://schemas.openxmlformats.org/officeDocument/2006/math">
                    <m:f>
                      <m:fPr>
                        <m:ctrlPr>
                          <a:rPr lang="en-US" sz="1800" i="1" smtClean="0">
                            <a:latin typeface="Cambria Math" panose="02040503050406030204" pitchFamily="18" charset="0"/>
                          </a:rPr>
                        </m:ctrlPr>
                      </m:fPr>
                      <m:num>
                        <m:r>
                          <a:rPr lang="en-US" sz="1800" i="1">
                            <a:latin typeface="Cambria Math" panose="02040503050406030204" pitchFamily="18" charset="0"/>
                          </a:rPr>
                          <m:t>𝜕</m:t>
                        </m:r>
                        <m:sSup>
                          <m:sSupPr>
                            <m:ctrlPr>
                              <a:rPr lang="en-US" sz="1800" i="1">
                                <a:latin typeface="Cambria Math" panose="02040503050406030204" pitchFamily="18" charset="0"/>
                              </a:rPr>
                            </m:ctrlPr>
                          </m:sSupPr>
                          <m:e>
                            <m:d>
                              <m:dPr>
                                <m:ctrlPr>
                                  <a:rPr lang="en-US" sz="1800" i="1">
                                    <a:latin typeface="Cambria Math" panose="02040503050406030204" pitchFamily="18" charset="0"/>
                                  </a:rPr>
                                </m:ctrlPr>
                              </m:dPr>
                              <m:e>
                                <m:r>
                                  <a:rPr lang="en-US" sz="1800" i="1">
                                    <a:latin typeface="Cambria Math" panose="02040503050406030204" pitchFamily="18" charset="0"/>
                                  </a:rPr>
                                  <m:t>𝑌</m:t>
                                </m:r>
                                <m:r>
                                  <a:rPr lang="en-US" sz="1800" i="1">
                                    <a:latin typeface="Cambria Math" panose="02040503050406030204" pitchFamily="18" charset="0"/>
                                  </a:rPr>
                                  <m:t> −</m:t>
                                </m:r>
                                <m:d>
                                  <m:dPr>
                                    <m:ctrlPr>
                                      <a:rPr lang="en-US" sz="1800" i="1">
                                        <a:latin typeface="Cambria Math" panose="02040503050406030204" pitchFamily="18" charset="0"/>
                                      </a:rPr>
                                    </m:ctrlPr>
                                  </m:dPr>
                                  <m:e>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r>
                                      <a:rPr lang="en-US" sz="1800" i="1">
                                        <a:latin typeface="Cambria Math" panose="02040503050406030204" pitchFamily="18" charset="0"/>
                                      </a:rPr>
                                      <m:t>+</m:t>
                                    </m:r>
                                    <m:sSub>
                                      <m:sSubPr>
                                        <m:ctrlPr>
                                          <a:rPr lang="en-US" sz="1800" i="1">
                                            <a:latin typeface="Cambria Math" panose="02040503050406030204" pitchFamily="18" charset="0"/>
                                          </a:rPr>
                                        </m:ctrlPr>
                                      </m:sSubPr>
                                      <m:e>
                                        <m:r>
                                          <a:rPr lang="en-US" sz="1800" i="1">
                                            <a:latin typeface="Cambria Math" panose="02040503050406030204" pitchFamily="18" charset="0"/>
                                          </a:rPr>
                                          <m:t>𝑓</m:t>
                                        </m:r>
                                      </m:e>
                                      <m:sub>
                                        <m:r>
                                          <a:rPr lang="en-US" sz="1800" b="0" i="1" smtClean="0">
                                            <a:latin typeface="Cambria Math" panose="02040503050406030204" pitchFamily="18" charset="0"/>
                                          </a:rPr>
                                          <m:t>∗</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e>
                                </m:d>
                              </m:e>
                            </m:d>
                          </m:e>
                          <m:sup>
                            <m:r>
                              <a:rPr lang="en-US" sz="1800" i="1">
                                <a:latin typeface="Cambria Math" panose="02040503050406030204" pitchFamily="18" charset="0"/>
                              </a:rPr>
                              <m:t>2</m:t>
                            </m:r>
                          </m:sup>
                        </m:sSup>
                      </m:num>
                      <m:den>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𝑓</m:t>
                            </m:r>
                          </m:e>
                          <m:sub>
                            <m:r>
                              <a:rPr lang="en-US" sz="1800" b="0" i="1" smtClean="0">
                                <a:latin typeface="Cambria Math" panose="02040503050406030204" pitchFamily="18" charset="0"/>
                              </a:rPr>
                              <m:t>∗</m:t>
                            </m:r>
                          </m:sub>
                        </m:sSub>
                        <m:r>
                          <a:rPr lang="en-US" sz="1800" b="0" i="1" smtClean="0">
                            <a:latin typeface="Cambria Math" panose="02040503050406030204" pitchFamily="18" charset="0"/>
                          </a:rPr>
                          <m:t>(</m:t>
                        </m:r>
                        <m:r>
                          <a:rPr lang="en-US" sz="1800" b="0" i="1" smtClean="0">
                            <a:latin typeface="Cambria Math" panose="02040503050406030204" pitchFamily="18" charset="0"/>
                          </a:rPr>
                          <m:t>𝑋</m:t>
                        </m:r>
                        <m:r>
                          <a:rPr lang="en-US" sz="1800" b="0" i="1" smtClean="0">
                            <a:latin typeface="Cambria Math" panose="02040503050406030204" pitchFamily="18" charset="0"/>
                          </a:rPr>
                          <m:t>)</m:t>
                        </m:r>
                      </m:den>
                    </m:f>
                    <m:r>
                      <a:rPr lang="en-US" sz="1800" b="0" i="1" smtClean="0">
                        <a:latin typeface="Cambria Math" panose="02040503050406030204" pitchFamily="18" charset="0"/>
                      </a:rPr>
                      <m:t>=0</m:t>
                    </m:r>
                  </m:oMath>
                </a14:m>
                <a:r>
                  <a:rPr lang="en-US" sz="1800" dirty="0">
                    <a:latin typeface="+mj-lt"/>
                  </a:rPr>
                  <a:t> </a:t>
                </a:r>
              </a:p>
              <a:p>
                <a:pPr marL="0" indent="0">
                  <a:buNone/>
                </a:pPr>
                <a:r>
                  <a:rPr lang="en-US" sz="1800" dirty="0">
                    <a:latin typeface="+mj-lt"/>
                  </a:rPr>
                  <a:t>     Applying the chain rule:</a:t>
                </a:r>
              </a:p>
              <a:p>
                <a:pPr marL="0" indent="0" algn="ctr">
                  <a:lnSpc>
                    <a:spcPct val="160000"/>
                  </a:lnSpc>
                  <a:buNone/>
                </a:pPr>
                <a14:m>
                  <m:oMathPara xmlns:m="http://schemas.openxmlformats.org/officeDocument/2006/math">
                    <m:oMathParaPr>
                      <m:jc m:val="centerGroup"/>
                    </m:oMathParaPr>
                    <m:oMath xmlns:m="http://schemas.openxmlformats.org/officeDocument/2006/math">
                      <m:r>
                        <a:rPr lang="en-US" sz="1800" b="0" i="1" smtClean="0">
                          <a:latin typeface="Cambria Math" panose="02040503050406030204" pitchFamily="18" charset="0"/>
                        </a:rPr>
                        <m:t>−2</m:t>
                      </m:r>
                      <m:d>
                        <m:dPr>
                          <m:ctrlPr>
                            <a:rPr lang="en-US" sz="1800" i="1">
                              <a:latin typeface="Cambria Math" panose="02040503050406030204" pitchFamily="18" charset="0"/>
                            </a:rPr>
                          </m:ctrlPr>
                        </m:dPr>
                        <m:e>
                          <m:r>
                            <a:rPr lang="en-US" sz="1800" i="1">
                              <a:latin typeface="Cambria Math" panose="02040503050406030204" pitchFamily="18" charset="0"/>
                            </a:rPr>
                            <m:t>𝑌</m:t>
                          </m:r>
                          <m:r>
                            <a:rPr lang="en-US" sz="1800" i="1">
                              <a:latin typeface="Cambria Math" panose="02040503050406030204" pitchFamily="18" charset="0"/>
                            </a:rPr>
                            <m:t> −</m:t>
                          </m:r>
                          <m:d>
                            <m:dPr>
                              <m:ctrlPr>
                                <a:rPr lang="en-US" sz="1800" i="1">
                                  <a:latin typeface="Cambria Math" panose="02040503050406030204" pitchFamily="18" charset="0"/>
                                </a:rPr>
                              </m:ctrlPr>
                            </m:dPr>
                            <m:e>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r>
                                <a:rPr lang="en-US" sz="1800" i="1">
                                  <a:latin typeface="Cambria Math" panose="02040503050406030204" pitchFamily="18" charset="0"/>
                                </a:rPr>
                                <m:t>+</m:t>
                              </m:r>
                              <m:sSub>
                                <m:sSubPr>
                                  <m:ctrlPr>
                                    <a:rPr lang="en-US" sz="1800" i="1">
                                      <a:latin typeface="Cambria Math" panose="02040503050406030204" pitchFamily="18" charset="0"/>
                                    </a:rPr>
                                  </m:ctrlPr>
                                </m:sSubPr>
                                <m:e>
                                  <m:r>
                                    <a:rPr lang="en-US" sz="1800" i="1">
                                      <a:latin typeface="Cambria Math" panose="02040503050406030204" pitchFamily="18" charset="0"/>
                                    </a:rPr>
                                    <m:t>𝑓</m:t>
                                  </m:r>
                                </m:e>
                                <m:sub>
                                  <m:r>
                                    <a:rPr lang="en-US" sz="1800" i="1">
                                      <a:latin typeface="Cambria Math" panose="02040503050406030204" pitchFamily="18" charset="0"/>
                                    </a:rPr>
                                    <m:t>∗</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e>
                          </m:d>
                        </m:e>
                      </m:d>
                      <m:r>
                        <a:rPr lang="en-US" sz="1800" b="0" i="1" smtClean="0">
                          <a:latin typeface="Cambria Math" panose="02040503050406030204" pitchFamily="18" charset="0"/>
                        </a:rPr>
                        <m:t>=0</m:t>
                      </m:r>
                    </m:oMath>
                  </m:oMathPara>
                </a14:m>
                <a:endParaRPr lang="en-US" sz="1800" b="0" dirty="0">
                  <a:latin typeface="+mj-lt"/>
                </a:endParaRPr>
              </a:p>
              <a:p>
                <a:pPr marL="0" indent="0" algn="ctr">
                  <a:lnSpc>
                    <a:spcPct val="160000"/>
                  </a:lnSpc>
                  <a:buNone/>
                </a:pPr>
                <a14:m>
                  <m:oMathPara xmlns:m="http://schemas.openxmlformats.org/officeDocument/2006/math">
                    <m:oMathParaPr>
                      <m:jc m:val="centerGroup"/>
                    </m:oMathParaPr>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𝑓</m:t>
                          </m:r>
                        </m:e>
                        <m:sub>
                          <m:r>
                            <a:rPr lang="en-US" sz="1800" b="0" i="1" smtClean="0">
                              <a:latin typeface="Cambria Math" panose="02040503050406030204" pitchFamily="18" charset="0"/>
                            </a:rPr>
                            <m:t>∗</m:t>
                          </m:r>
                        </m:sub>
                      </m:sSub>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𝑋</m:t>
                          </m:r>
                        </m:e>
                      </m:d>
                      <m:r>
                        <a:rPr lang="en-US" sz="1800" b="0" i="1" smtClean="0">
                          <a:latin typeface="Cambria Math" panose="02040503050406030204" pitchFamily="18" charset="0"/>
                        </a:rPr>
                        <m:t>=</m:t>
                      </m:r>
                      <m:r>
                        <a:rPr lang="en-US" sz="1800" b="0" i="1" smtClean="0">
                          <a:latin typeface="Cambria Math" panose="02040503050406030204" pitchFamily="18" charset="0"/>
                        </a:rPr>
                        <m:t>𝑌</m:t>
                      </m:r>
                      <m:r>
                        <a:rPr lang="en-US" sz="1800" b="0" i="1" smtClean="0">
                          <a:latin typeface="Cambria Math" panose="02040503050406030204" pitchFamily="18" charset="0"/>
                        </a:rPr>
                        <m:t> −</m:t>
                      </m:r>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𝑋</m:t>
                          </m:r>
                        </m:e>
                      </m:d>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𝜖</m:t>
                          </m:r>
                        </m:e>
                        <m:sub>
                          <m:r>
                            <a:rPr lang="en-US" sz="1800" b="0" i="1" smtClean="0">
                              <a:latin typeface="Cambria Math" panose="02040503050406030204" pitchFamily="18" charset="0"/>
                            </a:rPr>
                            <m:t>1</m:t>
                          </m:r>
                        </m:sub>
                      </m:sSub>
                    </m:oMath>
                  </m:oMathPara>
                </a14:m>
                <a:endParaRPr lang="en-US" sz="1800" dirty="0">
                  <a:latin typeface="+mj-lt"/>
                </a:endParaRPr>
              </a:p>
              <a:p>
                <a:r>
                  <a:rPr lang="en-US" sz="1800" dirty="0">
                    <a:latin typeface="+mj-lt"/>
                  </a:rPr>
                  <a:t>So our goal for the second stage model </a:t>
                </a:r>
                <a14:m>
                  <m:oMath xmlns:m="http://schemas.openxmlformats.org/officeDocument/2006/math">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b="0" i="1" dirty="0" smtClean="0">
                            <a:latin typeface="Cambria Math" panose="02040503050406030204" pitchFamily="18" charset="0"/>
                          </a:rPr>
                          <m:t>2</m:t>
                        </m:r>
                      </m:sub>
                    </m:sSub>
                    <m:r>
                      <a:rPr lang="en-US" sz="1800" i="1" dirty="0">
                        <a:latin typeface="Cambria Math" panose="02040503050406030204" pitchFamily="18" charset="0"/>
                      </a:rPr>
                      <m:t> </m:t>
                    </m:r>
                  </m:oMath>
                </a14:m>
                <a:r>
                  <a:rPr lang="en-US" sz="1800" dirty="0">
                    <a:latin typeface="+mj-lt"/>
                  </a:rPr>
                  <a:t>is to try to approximate </a:t>
                </a:r>
                <a14:m>
                  <m:oMath xmlns:m="http://schemas.openxmlformats.org/officeDocument/2006/math">
                    <m:sSub>
                      <m:sSubPr>
                        <m:ctrlPr>
                          <a:rPr lang="en-US" sz="1800" i="1">
                            <a:latin typeface="Cambria Math" panose="02040503050406030204" pitchFamily="18" charset="0"/>
                          </a:rPr>
                        </m:ctrlPr>
                      </m:sSubPr>
                      <m:e>
                        <m:r>
                          <a:rPr lang="en-US" sz="1800" i="1">
                            <a:latin typeface="Cambria Math" panose="02040503050406030204" pitchFamily="18" charset="0"/>
                          </a:rPr>
                          <m:t>𝑓</m:t>
                        </m:r>
                      </m:e>
                      <m:sub>
                        <m:r>
                          <a:rPr lang="en-US" sz="1800" i="1">
                            <a:latin typeface="Cambria Math" panose="02040503050406030204" pitchFamily="18" charset="0"/>
                          </a:rPr>
                          <m:t>∗</m:t>
                        </m:r>
                      </m:sub>
                    </m:sSub>
                    <m:d>
                      <m:dPr>
                        <m:ctrlPr>
                          <a:rPr lang="en-US" sz="1800" i="1">
                            <a:latin typeface="Cambria Math" panose="02040503050406030204" pitchFamily="18" charset="0"/>
                          </a:rPr>
                        </m:ctrlPr>
                      </m:dPr>
                      <m:e>
                        <m:r>
                          <a:rPr lang="en-US" sz="1800" i="1">
                            <a:latin typeface="Cambria Math" panose="02040503050406030204" pitchFamily="18" charset="0"/>
                          </a:rPr>
                          <m:t>𝑋</m:t>
                        </m:r>
                      </m:e>
                    </m:d>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𝜖</m:t>
                        </m:r>
                      </m:e>
                      <m:sub>
                        <m:r>
                          <a:rPr lang="en-US" sz="1800" b="0" i="1" smtClean="0">
                            <a:latin typeface="Cambria Math" panose="02040503050406030204" pitchFamily="18" charset="0"/>
                          </a:rPr>
                          <m:t>1</m:t>
                        </m:r>
                      </m:sub>
                    </m:sSub>
                  </m:oMath>
                </a14:m>
                <a:r>
                  <a:rPr lang="en-US" sz="1800" dirty="0">
                    <a:latin typeface="+mj-lt"/>
                  </a:rPr>
                  <a:t>  , the residuals from the first stage…</a:t>
                </a:r>
              </a:p>
              <a:p>
                <a:r>
                  <a:rPr lang="en-US" sz="1800" dirty="0">
                    <a:latin typeface="+mj-lt"/>
                  </a:rPr>
                  <a:t>After the second stage, repeat the process replacing </a:t>
                </a:r>
                <a14:m>
                  <m:oMath xmlns:m="http://schemas.openxmlformats.org/officeDocument/2006/math">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r>
                      <a:rPr lang="en-US" sz="1800" i="1" dirty="0">
                        <a:latin typeface="Cambria Math" panose="02040503050406030204" pitchFamily="18" charset="0"/>
                      </a:rPr>
                      <m:t> </m:t>
                    </m:r>
                  </m:oMath>
                </a14:m>
                <a:r>
                  <a:rPr lang="en-US" sz="1800" dirty="0">
                    <a:latin typeface="+mj-lt"/>
                  </a:rPr>
                  <a:t>with </a:t>
                </a:r>
                <a14:m>
                  <m:oMath xmlns:m="http://schemas.openxmlformats.org/officeDocument/2006/math">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i="1" dirty="0">
                            <a:latin typeface="Cambria Math" panose="02040503050406030204" pitchFamily="18" charset="0"/>
                          </a:rPr>
                          <m:t>1</m:t>
                        </m:r>
                      </m:sub>
                    </m:sSub>
                    <m:r>
                      <a:rPr lang="en-US" sz="1800" b="0" i="1" dirty="0" smtClean="0">
                        <a:latin typeface="Cambria Math" panose="02040503050406030204" pitchFamily="18" charset="0"/>
                      </a:rPr>
                      <m:t>+</m:t>
                    </m:r>
                    <m:r>
                      <a:rPr lang="en-US" sz="1800" b="0" i="1" dirty="0" smtClean="0">
                        <a:latin typeface="Cambria Math" panose="02040503050406030204" pitchFamily="18" charset="0"/>
                      </a:rPr>
                      <m:t>𝜂</m:t>
                    </m:r>
                    <m:sSub>
                      <m:sSubPr>
                        <m:ctrlPr>
                          <a:rPr lang="en-US" sz="1800" i="1" dirty="0">
                            <a:latin typeface="Cambria Math" panose="02040503050406030204" pitchFamily="18" charset="0"/>
                          </a:rPr>
                        </m:ctrlPr>
                      </m:sSubPr>
                      <m:e>
                        <m:acc>
                          <m:accPr>
                            <m:chr m:val="̂"/>
                            <m:ctrlPr>
                              <a:rPr lang="en-US" sz="1800" i="1" dirty="0">
                                <a:latin typeface="Cambria Math" panose="02040503050406030204" pitchFamily="18" charset="0"/>
                              </a:rPr>
                            </m:ctrlPr>
                          </m:accPr>
                          <m:e>
                            <m:r>
                              <a:rPr lang="en-US" sz="1800" i="1" dirty="0">
                                <a:latin typeface="Cambria Math" panose="02040503050406030204" pitchFamily="18" charset="0"/>
                              </a:rPr>
                              <m:t>𝑓</m:t>
                            </m:r>
                          </m:e>
                        </m:acc>
                      </m:e>
                      <m:sub>
                        <m:r>
                          <a:rPr lang="en-US" sz="1800" b="0" i="1" dirty="0" smtClean="0">
                            <a:latin typeface="Cambria Math" panose="02040503050406030204" pitchFamily="18" charset="0"/>
                          </a:rPr>
                          <m:t>2</m:t>
                        </m:r>
                      </m:sub>
                    </m:sSub>
                  </m:oMath>
                </a14:m>
                <a:r>
                  <a:rPr lang="en-US" sz="1800" dirty="0">
                    <a:latin typeface="+mj-lt"/>
                  </a:rPr>
                  <a:t> , calculating residuals from the updated model, and repeat…</a:t>
                </a:r>
              </a:p>
            </p:txBody>
          </p:sp>
        </mc:Choice>
        <mc:Fallback xmlns="">
          <p:sp>
            <p:nvSpPr>
              <p:cNvPr id="3" name="Content Placeholder 2">
                <a:extLst>
                  <a:ext uri="{FF2B5EF4-FFF2-40B4-BE49-F238E27FC236}">
                    <a16:creationId xmlns:a16="http://schemas.microsoft.com/office/drawing/2014/main" id="{93227CAA-7B03-4A17-923B-099D7F158BDC}"/>
                  </a:ext>
                </a:extLst>
              </p:cNvPr>
              <p:cNvSpPr>
                <a:spLocks noGrp="1" noRot="1" noChangeAspect="1" noMove="1" noResize="1" noEditPoints="1" noAdjustHandles="1" noChangeArrowheads="1" noChangeShapeType="1" noTextEdit="1"/>
              </p:cNvSpPr>
              <p:nvPr>
                <p:ph sz="half" idx="1"/>
              </p:nvPr>
            </p:nvSpPr>
            <p:spPr>
              <a:xfrm>
                <a:off x="480290" y="1371600"/>
                <a:ext cx="6026727" cy="4955309"/>
              </a:xfrm>
              <a:blipFill>
                <a:blip r:embed="rId2"/>
                <a:stretch>
                  <a:fillRect l="-304" t="-1476"/>
                </a:stretch>
              </a:blipFill>
            </p:spPr>
            <p:txBody>
              <a:bodyPr/>
              <a:lstStyle/>
              <a:p>
                <a:r>
                  <a:rPr lang="en-US">
                    <a:noFill/>
                  </a:rPr>
                  <a:t> </a:t>
                </a:r>
              </a:p>
            </p:txBody>
          </p:sp>
        </mc:Fallback>
      </mc:AlternateContent>
      <p:grpSp>
        <p:nvGrpSpPr>
          <p:cNvPr id="4" name="Group 3">
            <a:extLst>
              <a:ext uri="{FF2B5EF4-FFF2-40B4-BE49-F238E27FC236}">
                <a16:creationId xmlns:a16="http://schemas.microsoft.com/office/drawing/2014/main" id="{979E8C5E-4359-4D32-8A93-008FB23ED425}"/>
              </a:ext>
            </a:extLst>
          </p:cNvPr>
          <p:cNvGrpSpPr/>
          <p:nvPr/>
        </p:nvGrpSpPr>
        <p:grpSpPr>
          <a:xfrm>
            <a:off x="6880834" y="1300725"/>
            <a:ext cx="4438330" cy="4808192"/>
            <a:chOff x="6756142" y="1827197"/>
            <a:chExt cx="4013715" cy="4348192"/>
          </a:xfrm>
        </p:grpSpPr>
        <p:sp>
          <p:nvSpPr>
            <p:cNvPr id="16" name="Freeform: Shape 15">
              <a:extLst>
                <a:ext uri="{FF2B5EF4-FFF2-40B4-BE49-F238E27FC236}">
                  <a16:creationId xmlns:a16="http://schemas.microsoft.com/office/drawing/2014/main" id="{AC53565A-CE88-4593-A91D-F4C21A575178}"/>
                </a:ext>
              </a:extLst>
            </p:cNvPr>
            <p:cNvSpPr/>
            <p:nvPr/>
          </p:nvSpPr>
          <p:spPr>
            <a:xfrm>
              <a:off x="6756142" y="1827197"/>
              <a:ext cx="1672381" cy="1003428"/>
            </a:xfrm>
            <a:custGeom>
              <a:avLst/>
              <a:gdLst>
                <a:gd name="connsiteX0" fmla="*/ 0 w 1672381"/>
                <a:gd name="connsiteY0" fmla="*/ 100343 h 1003428"/>
                <a:gd name="connsiteX1" fmla="*/ 100343 w 1672381"/>
                <a:gd name="connsiteY1" fmla="*/ 0 h 1003428"/>
                <a:gd name="connsiteX2" fmla="*/ 1572038 w 1672381"/>
                <a:gd name="connsiteY2" fmla="*/ 0 h 1003428"/>
                <a:gd name="connsiteX3" fmla="*/ 1672381 w 1672381"/>
                <a:gd name="connsiteY3" fmla="*/ 100343 h 1003428"/>
                <a:gd name="connsiteX4" fmla="*/ 1672381 w 1672381"/>
                <a:gd name="connsiteY4" fmla="*/ 903085 h 1003428"/>
                <a:gd name="connsiteX5" fmla="*/ 1572038 w 1672381"/>
                <a:gd name="connsiteY5" fmla="*/ 1003428 h 1003428"/>
                <a:gd name="connsiteX6" fmla="*/ 100343 w 1672381"/>
                <a:gd name="connsiteY6" fmla="*/ 1003428 h 1003428"/>
                <a:gd name="connsiteX7" fmla="*/ 0 w 1672381"/>
                <a:gd name="connsiteY7" fmla="*/ 903085 h 1003428"/>
                <a:gd name="connsiteX8" fmla="*/ 0 w 1672381"/>
                <a:gd name="connsiteY8" fmla="*/ 100343 h 10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381" h="1003428">
                  <a:moveTo>
                    <a:pt x="0" y="100343"/>
                  </a:moveTo>
                  <a:cubicBezTo>
                    <a:pt x="0" y="44925"/>
                    <a:pt x="44925" y="0"/>
                    <a:pt x="100343" y="0"/>
                  </a:cubicBezTo>
                  <a:lnTo>
                    <a:pt x="1572038" y="0"/>
                  </a:lnTo>
                  <a:cubicBezTo>
                    <a:pt x="1627456" y="0"/>
                    <a:pt x="1672381" y="44925"/>
                    <a:pt x="1672381" y="100343"/>
                  </a:cubicBezTo>
                  <a:lnTo>
                    <a:pt x="1672381" y="903085"/>
                  </a:lnTo>
                  <a:cubicBezTo>
                    <a:pt x="1672381" y="958503"/>
                    <a:pt x="1627456" y="1003428"/>
                    <a:pt x="1572038" y="1003428"/>
                  </a:cubicBezTo>
                  <a:lnTo>
                    <a:pt x="100343" y="1003428"/>
                  </a:lnTo>
                  <a:cubicBezTo>
                    <a:pt x="44925" y="1003428"/>
                    <a:pt x="0" y="958503"/>
                    <a:pt x="0" y="903085"/>
                  </a:cubicBezTo>
                  <a:lnTo>
                    <a:pt x="0" y="10034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489" tIns="67489" rIns="67489" bIns="67489" numCol="1" spcCol="1270" anchor="ctr" anchorCtr="0">
              <a:noAutofit/>
            </a:bodyPr>
            <a:lstStyle/>
            <a:p>
              <a:pPr marL="0" lvl="0" indent="0" algn="ctr" defTabSz="444500">
                <a:lnSpc>
                  <a:spcPct val="90000"/>
                </a:lnSpc>
                <a:spcBef>
                  <a:spcPct val="0"/>
                </a:spcBef>
                <a:spcAft>
                  <a:spcPct val="35000"/>
                </a:spcAft>
                <a:buNone/>
              </a:pPr>
              <a:r>
                <a:rPr lang="en-US" sz="1100" kern="1200"/>
                <a:t>An initial model is used to generate a prediction and calculate residuals</a:t>
              </a:r>
            </a:p>
          </p:txBody>
        </p:sp>
        <p:sp>
          <p:nvSpPr>
            <p:cNvPr id="17" name="Freeform: Shape 16">
              <a:extLst>
                <a:ext uri="{FF2B5EF4-FFF2-40B4-BE49-F238E27FC236}">
                  <a16:creationId xmlns:a16="http://schemas.microsoft.com/office/drawing/2014/main" id="{40AAAC2F-BA4D-4E6F-835E-ED563860E343}"/>
                </a:ext>
              </a:extLst>
            </p:cNvPr>
            <p:cNvSpPr/>
            <p:nvPr/>
          </p:nvSpPr>
          <p:spPr>
            <a:xfrm>
              <a:off x="8575693" y="2121537"/>
              <a:ext cx="354544" cy="414750"/>
            </a:xfrm>
            <a:custGeom>
              <a:avLst/>
              <a:gdLst>
                <a:gd name="connsiteX0" fmla="*/ 0 w 354544"/>
                <a:gd name="connsiteY0" fmla="*/ 82950 h 414750"/>
                <a:gd name="connsiteX1" fmla="*/ 177272 w 354544"/>
                <a:gd name="connsiteY1" fmla="*/ 82950 h 414750"/>
                <a:gd name="connsiteX2" fmla="*/ 177272 w 354544"/>
                <a:gd name="connsiteY2" fmla="*/ 0 h 414750"/>
                <a:gd name="connsiteX3" fmla="*/ 354544 w 354544"/>
                <a:gd name="connsiteY3" fmla="*/ 207375 h 414750"/>
                <a:gd name="connsiteX4" fmla="*/ 177272 w 354544"/>
                <a:gd name="connsiteY4" fmla="*/ 414750 h 414750"/>
                <a:gd name="connsiteX5" fmla="*/ 177272 w 354544"/>
                <a:gd name="connsiteY5" fmla="*/ 331800 h 414750"/>
                <a:gd name="connsiteX6" fmla="*/ 0 w 354544"/>
                <a:gd name="connsiteY6" fmla="*/ 331800 h 414750"/>
                <a:gd name="connsiteX7" fmla="*/ 0 w 354544"/>
                <a:gd name="connsiteY7" fmla="*/ 82950 h 4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44" h="414750">
                  <a:moveTo>
                    <a:pt x="0" y="82950"/>
                  </a:moveTo>
                  <a:lnTo>
                    <a:pt x="177272" y="82950"/>
                  </a:lnTo>
                  <a:lnTo>
                    <a:pt x="177272" y="0"/>
                  </a:lnTo>
                  <a:lnTo>
                    <a:pt x="354544" y="207375"/>
                  </a:lnTo>
                  <a:lnTo>
                    <a:pt x="177272" y="414750"/>
                  </a:lnTo>
                  <a:lnTo>
                    <a:pt x="177272" y="331800"/>
                  </a:lnTo>
                  <a:lnTo>
                    <a:pt x="0" y="331800"/>
                  </a:lnTo>
                  <a:lnTo>
                    <a:pt x="0" y="8295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2950" rIns="106363" bIns="82950" numCol="1" spcCol="1270" anchor="ctr" anchorCtr="0">
              <a:noAutofit/>
            </a:bodyPr>
            <a:lstStyle/>
            <a:p>
              <a:pPr marL="0" lvl="0" indent="0" algn="ctr" defTabSz="355600">
                <a:lnSpc>
                  <a:spcPct val="90000"/>
                </a:lnSpc>
                <a:spcBef>
                  <a:spcPct val="0"/>
                </a:spcBef>
                <a:spcAft>
                  <a:spcPct val="35000"/>
                </a:spcAft>
                <a:buNone/>
              </a:pPr>
              <a:endParaRPr lang="en-US" sz="1000" kern="1200"/>
            </a:p>
          </p:txBody>
        </p:sp>
        <p:sp>
          <p:nvSpPr>
            <p:cNvPr id="18" name="Freeform: Shape 17">
              <a:extLst>
                <a:ext uri="{FF2B5EF4-FFF2-40B4-BE49-F238E27FC236}">
                  <a16:creationId xmlns:a16="http://schemas.microsoft.com/office/drawing/2014/main" id="{FBAF6E58-C348-43BF-B8CC-9222C10D1BE0}"/>
                </a:ext>
              </a:extLst>
            </p:cNvPr>
            <p:cNvSpPr/>
            <p:nvPr/>
          </p:nvSpPr>
          <p:spPr>
            <a:xfrm>
              <a:off x="9097476" y="1827197"/>
              <a:ext cx="1672381" cy="1003428"/>
            </a:xfrm>
            <a:custGeom>
              <a:avLst/>
              <a:gdLst>
                <a:gd name="connsiteX0" fmla="*/ 0 w 1672381"/>
                <a:gd name="connsiteY0" fmla="*/ 100343 h 1003428"/>
                <a:gd name="connsiteX1" fmla="*/ 100343 w 1672381"/>
                <a:gd name="connsiteY1" fmla="*/ 0 h 1003428"/>
                <a:gd name="connsiteX2" fmla="*/ 1572038 w 1672381"/>
                <a:gd name="connsiteY2" fmla="*/ 0 h 1003428"/>
                <a:gd name="connsiteX3" fmla="*/ 1672381 w 1672381"/>
                <a:gd name="connsiteY3" fmla="*/ 100343 h 1003428"/>
                <a:gd name="connsiteX4" fmla="*/ 1672381 w 1672381"/>
                <a:gd name="connsiteY4" fmla="*/ 903085 h 1003428"/>
                <a:gd name="connsiteX5" fmla="*/ 1572038 w 1672381"/>
                <a:gd name="connsiteY5" fmla="*/ 1003428 h 1003428"/>
                <a:gd name="connsiteX6" fmla="*/ 100343 w 1672381"/>
                <a:gd name="connsiteY6" fmla="*/ 1003428 h 1003428"/>
                <a:gd name="connsiteX7" fmla="*/ 0 w 1672381"/>
                <a:gd name="connsiteY7" fmla="*/ 903085 h 1003428"/>
                <a:gd name="connsiteX8" fmla="*/ 0 w 1672381"/>
                <a:gd name="connsiteY8" fmla="*/ 100343 h 10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381" h="1003428">
                  <a:moveTo>
                    <a:pt x="0" y="100343"/>
                  </a:moveTo>
                  <a:cubicBezTo>
                    <a:pt x="0" y="44925"/>
                    <a:pt x="44925" y="0"/>
                    <a:pt x="100343" y="0"/>
                  </a:cubicBezTo>
                  <a:lnTo>
                    <a:pt x="1572038" y="0"/>
                  </a:lnTo>
                  <a:cubicBezTo>
                    <a:pt x="1627456" y="0"/>
                    <a:pt x="1672381" y="44925"/>
                    <a:pt x="1672381" y="100343"/>
                  </a:cubicBezTo>
                  <a:lnTo>
                    <a:pt x="1672381" y="903085"/>
                  </a:lnTo>
                  <a:cubicBezTo>
                    <a:pt x="1672381" y="958503"/>
                    <a:pt x="1627456" y="1003428"/>
                    <a:pt x="1572038" y="1003428"/>
                  </a:cubicBezTo>
                  <a:lnTo>
                    <a:pt x="100343" y="1003428"/>
                  </a:lnTo>
                  <a:cubicBezTo>
                    <a:pt x="44925" y="1003428"/>
                    <a:pt x="0" y="958503"/>
                    <a:pt x="0" y="903085"/>
                  </a:cubicBezTo>
                  <a:lnTo>
                    <a:pt x="0" y="10034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489" tIns="67489" rIns="67489" bIns="67489" numCol="1" spcCol="1270" anchor="ctr" anchorCtr="0">
              <a:noAutofit/>
            </a:bodyPr>
            <a:lstStyle/>
            <a:p>
              <a:pPr marL="0" lvl="0" indent="0" algn="ctr" defTabSz="444500">
                <a:lnSpc>
                  <a:spcPct val="90000"/>
                </a:lnSpc>
                <a:spcBef>
                  <a:spcPct val="0"/>
                </a:spcBef>
                <a:spcAft>
                  <a:spcPct val="35000"/>
                </a:spcAft>
                <a:buNone/>
              </a:pPr>
              <a:r>
                <a:rPr lang="en-US" sz="1100" kern="1200" dirty="0"/>
                <a:t>A subsequent model is then fit on residuals of the previous model. Bootstrapped resamples may be used (stochastic gradient boosting)</a:t>
              </a:r>
            </a:p>
          </p:txBody>
        </p:sp>
        <p:sp>
          <p:nvSpPr>
            <p:cNvPr id="19" name="Freeform: Shape 18">
              <a:extLst>
                <a:ext uri="{FF2B5EF4-FFF2-40B4-BE49-F238E27FC236}">
                  <a16:creationId xmlns:a16="http://schemas.microsoft.com/office/drawing/2014/main" id="{A0093D01-46B3-4F9B-B2C7-4840324AA5DA}"/>
                </a:ext>
              </a:extLst>
            </p:cNvPr>
            <p:cNvSpPr/>
            <p:nvPr/>
          </p:nvSpPr>
          <p:spPr>
            <a:xfrm>
              <a:off x="9726291" y="2977796"/>
              <a:ext cx="414750" cy="354544"/>
            </a:xfrm>
            <a:custGeom>
              <a:avLst/>
              <a:gdLst>
                <a:gd name="connsiteX0" fmla="*/ 0 w 354544"/>
                <a:gd name="connsiteY0" fmla="*/ 82950 h 414750"/>
                <a:gd name="connsiteX1" fmla="*/ 177272 w 354544"/>
                <a:gd name="connsiteY1" fmla="*/ 82950 h 414750"/>
                <a:gd name="connsiteX2" fmla="*/ 177272 w 354544"/>
                <a:gd name="connsiteY2" fmla="*/ 0 h 414750"/>
                <a:gd name="connsiteX3" fmla="*/ 354544 w 354544"/>
                <a:gd name="connsiteY3" fmla="*/ 207375 h 414750"/>
                <a:gd name="connsiteX4" fmla="*/ 177272 w 354544"/>
                <a:gd name="connsiteY4" fmla="*/ 414750 h 414750"/>
                <a:gd name="connsiteX5" fmla="*/ 177272 w 354544"/>
                <a:gd name="connsiteY5" fmla="*/ 331800 h 414750"/>
                <a:gd name="connsiteX6" fmla="*/ 0 w 354544"/>
                <a:gd name="connsiteY6" fmla="*/ 331800 h 414750"/>
                <a:gd name="connsiteX7" fmla="*/ 0 w 354544"/>
                <a:gd name="connsiteY7" fmla="*/ 82950 h 4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44" h="414750">
                  <a:moveTo>
                    <a:pt x="283635" y="0"/>
                  </a:moveTo>
                  <a:lnTo>
                    <a:pt x="283635" y="207375"/>
                  </a:lnTo>
                  <a:lnTo>
                    <a:pt x="354544" y="207375"/>
                  </a:lnTo>
                  <a:lnTo>
                    <a:pt x="177272" y="414750"/>
                  </a:lnTo>
                  <a:lnTo>
                    <a:pt x="0" y="207375"/>
                  </a:lnTo>
                  <a:lnTo>
                    <a:pt x="70909" y="207375"/>
                  </a:lnTo>
                  <a:lnTo>
                    <a:pt x="70909" y="0"/>
                  </a:lnTo>
                  <a:lnTo>
                    <a:pt x="283635"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82951" tIns="0" rIns="82949" bIns="106363" numCol="1" spcCol="1270" anchor="ctr" anchorCtr="0">
              <a:noAutofit/>
            </a:bodyPr>
            <a:lstStyle/>
            <a:p>
              <a:pPr marL="0" lvl="0" indent="0" algn="ctr" defTabSz="355600">
                <a:lnSpc>
                  <a:spcPct val="90000"/>
                </a:lnSpc>
                <a:spcBef>
                  <a:spcPct val="0"/>
                </a:spcBef>
                <a:spcAft>
                  <a:spcPct val="35000"/>
                </a:spcAft>
                <a:buNone/>
              </a:pPr>
              <a:endParaRPr lang="en-US" sz="1000" kern="1200"/>
            </a:p>
          </p:txBody>
        </p:sp>
        <p:sp>
          <p:nvSpPr>
            <p:cNvPr id="20" name="Freeform: Shape 19">
              <a:extLst>
                <a:ext uri="{FF2B5EF4-FFF2-40B4-BE49-F238E27FC236}">
                  <a16:creationId xmlns:a16="http://schemas.microsoft.com/office/drawing/2014/main" id="{E8A0C453-2C15-4404-A387-5111447C8108}"/>
                </a:ext>
              </a:extLst>
            </p:cNvPr>
            <p:cNvSpPr/>
            <p:nvPr/>
          </p:nvSpPr>
          <p:spPr>
            <a:xfrm>
              <a:off x="9097476" y="3499579"/>
              <a:ext cx="1672381" cy="1003428"/>
            </a:xfrm>
            <a:custGeom>
              <a:avLst/>
              <a:gdLst>
                <a:gd name="connsiteX0" fmla="*/ 0 w 1672381"/>
                <a:gd name="connsiteY0" fmla="*/ 100343 h 1003428"/>
                <a:gd name="connsiteX1" fmla="*/ 100343 w 1672381"/>
                <a:gd name="connsiteY1" fmla="*/ 0 h 1003428"/>
                <a:gd name="connsiteX2" fmla="*/ 1572038 w 1672381"/>
                <a:gd name="connsiteY2" fmla="*/ 0 h 1003428"/>
                <a:gd name="connsiteX3" fmla="*/ 1672381 w 1672381"/>
                <a:gd name="connsiteY3" fmla="*/ 100343 h 1003428"/>
                <a:gd name="connsiteX4" fmla="*/ 1672381 w 1672381"/>
                <a:gd name="connsiteY4" fmla="*/ 903085 h 1003428"/>
                <a:gd name="connsiteX5" fmla="*/ 1572038 w 1672381"/>
                <a:gd name="connsiteY5" fmla="*/ 1003428 h 1003428"/>
                <a:gd name="connsiteX6" fmla="*/ 100343 w 1672381"/>
                <a:gd name="connsiteY6" fmla="*/ 1003428 h 1003428"/>
                <a:gd name="connsiteX7" fmla="*/ 0 w 1672381"/>
                <a:gd name="connsiteY7" fmla="*/ 903085 h 1003428"/>
                <a:gd name="connsiteX8" fmla="*/ 0 w 1672381"/>
                <a:gd name="connsiteY8" fmla="*/ 100343 h 10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381" h="1003428">
                  <a:moveTo>
                    <a:pt x="0" y="100343"/>
                  </a:moveTo>
                  <a:cubicBezTo>
                    <a:pt x="0" y="44925"/>
                    <a:pt x="44925" y="0"/>
                    <a:pt x="100343" y="0"/>
                  </a:cubicBezTo>
                  <a:lnTo>
                    <a:pt x="1572038" y="0"/>
                  </a:lnTo>
                  <a:cubicBezTo>
                    <a:pt x="1627456" y="0"/>
                    <a:pt x="1672381" y="44925"/>
                    <a:pt x="1672381" y="100343"/>
                  </a:cubicBezTo>
                  <a:lnTo>
                    <a:pt x="1672381" y="903085"/>
                  </a:lnTo>
                  <a:cubicBezTo>
                    <a:pt x="1672381" y="958503"/>
                    <a:pt x="1627456" y="1003428"/>
                    <a:pt x="1572038" y="1003428"/>
                  </a:cubicBezTo>
                  <a:lnTo>
                    <a:pt x="100343" y="1003428"/>
                  </a:lnTo>
                  <a:cubicBezTo>
                    <a:pt x="44925" y="1003428"/>
                    <a:pt x="0" y="958503"/>
                    <a:pt x="0" y="903085"/>
                  </a:cubicBezTo>
                  <a:lnTo>
                    <a:pt x="0" y="10034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489" tIns="67489" rIns="67489" bIns="67489" numCol="1" spcCol="1270" anchor="ctr" anchorCtr="0">
              <a:noAutofit/>
            </a:bodyPr>
            <a:lstStyle/>
            <a:p>
              <a:pPr marL="0" lvl="0" indent="0" algn="ctr" defTabSz="444500">
                <a:lnSpc>
                  <a:spcPct val="90000"/>
                </a:lnSpc>
                <a:spcBef>
                  <a:spcPct val="0"/>
                </a:spcBef>
                <a:spcAft>
                  <a:spcPct val="35000"/>
                </a:spcAft>
                <a:buNone/>
              </a:pPr>
              <a:r>
                <a:rPr lang="en-US" sz="1100" kern="1200"/>
                <a:t>An updated prediction is generated from the weighted sum of the initial and subsequent model</a:t>
              </a:r>
            </a:p>
          </p:txBody>
        </p:sp>
        <p:sp>
          <p:nvSpPr>
            <p:cNvPr id="21" name="Freeform: Shape 20">
              <a:extLst>
                <a:ext uri="{FF2B5EF4-FFF2-40B4-BE49-F238E27FC236}">
                  <a16:creationId xmlns:a16="http://schemas.microsoft.com/office/drawing/2014/main" id="{293CD694-0CAB-4C32-804A-32F49D040614}"/>
                </a:ext>
              </a:extLst>
            </p:cNvPr>
            <p:cNvSpPr/>
            <p:nvPr/>
          </p:nvSpPr>
          <p:spPr>
            <a:xfrm>
              <a:off x="8595761" y="3793917"/>
              <a:ext cx="354545" cy="414751"/>
            </a:xfrm>
            <a:custGeom>
              <a:avLst/>
              <a:gdLst>
                <a:gd name="connsiteX0" fmla="*/ 0 w 354544"/>
                <a:gd name="connsiteY0" fmla="*/ 82950 h 414750"/>
                <a:gd name="connsiteX1" fmla="*/ 177272 w 354544"/>
                <a:gd name="connsiteY1" fmla="*/ 82950 h 414750"/>
                <a:gd name="connsiteX2" fmla="*/ 177272 w 354544"/>
                <a:gd name="connsiteY2" fmla="*/ 0 h 414750"/>
                <a:gd name="connsiteX3" fmla="*/ 354544 w 354544"/>
                <a:gd name="connsiteY3" fmla="*/ 207375 h 414750"/>
                <a:gd name="connsiteX4" fmla="*/ 177272 w 354544"/>
                <a:gd name="connsiteY4" fmla="*/ 414750 h 414750"/>
                <a:gd name="connsiteX5" fmla="*/ 177272 w 354544"/>
                <a:gd name="connsiteY5" fmla="*/ 331800 h 414750"/>
                <a:gd name="connsiteX6" fmla="*/ 0 w 354544"/>
                <a:gd name="connsiteY6" fmla="*/ 331800 h 414750"/>
                <a:gd name="connsiteX7" fmla="*/ 0 w 354544"/>
                <a:gd name="connsiteY7" fmla="*/ 82950 h 4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44" h="414750">
                  <a:moveTo>
                    <a:pt x="354544" y="331800"/>
                  </a:moveTo>
                  <a:lnTo>
                    <a:pt x="177272" y="331800"/>
                  </a:lnTo>
                  <a:lnTo>
                    <a:pt x="177272" y="414750"/>
                  </a:lnTo>
                  <a:lnTo>
                    <a:pt x="0" y="207375"/>
                  </a:lnTo>
                  <a:lnTo>
                    <a:pt x="177272" y="0"/>
                  </a:lnTo>
                  <a:lnTo>
                    <a:pt x="177272" y="82950"/>
                  </a:lnTo>
                  <a:lnTo>
                    <a:pt x="354544" y="82950"/>
                  </a:lnTo>
                  <a:lnTo>
                    <a:pt x="354544" y="33180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6363" tIns="82951" rIns="1" bIns="82950" numCol="1" spcCol="1270" anchor="ctr" anchorCtr="0">
              <a:noAutofit/>
            </a:bodyPr>
            <a:lstStyle/>
            <a:p>
              <a:pPr marL="0" lvl="0" indent="0" algn="ctr" defTabSz="355600">
                <a:lnSpc>
                  <a:spcPct val="90000"/>
                </a:lnSpc>
                <a:spcBef>
                  <a:spcPct val="0"/>
                </a:spcBef>
                <a:spcAft>
                  <a:spcPct val="35000"/>
                </a:spcAft>
                <a:buNone/>
              </a:pPr>
              <a:endParaRPr lang="en-US" sz="1000" kern="1200"/>
            </a:p>
          </p:txBody>
        </p:sp>
        <p:sp>
          <p:nvSpPr>
            <p:cNvPr id="22" name="Freeform: Shape 21">
              <a:extLst>
                <a:ext uri="{FF2B5EF4-FFF2-40B4-BE49-F238E27FC236}">
                  <a16:creationId xmlns:a16="http://schemas.microsoft.com/office/drawing/2014/main" id="{FB804E74-E1E5-45D0-84B4-8C0199D16126}"/>
                </a:ext>
              </a:extLst>
            </p:cNvPr>
            <p:cNvSpPr/>
            <p:nvPr/>
          </p:nvSpPr>
          <p:spPr>
            <a:xfrm>
              <a:off x="6756142" y="3499579"/>
              <a:ext cx="1672381" cy="1003428"/>
            </a:xfrm>
            <a:custGeom>
              <a:avLst/>
              <a:gdLst>
                <a:gd name="connsiteX0" fmla="*/ 0 w 1672381"/>
                <a:gd name="connsiteY0" fmla="*/ 100343 h 1003428"/>
                <a:gd name="connsiteX1" fmla="*/ 100343 w 1672381"/>
                <a:gd name="connsiteY1" fmla="*/ 0 h 1003428"/>
                <a:gd name="connsiteX2" fmla="*/ 1572038 w 1672381"/>
                <a:gd name="connsiteY2" fmla="*/ 0 h 1003428"/>
                <a:gd name="connsiteX3" fmla="*/ 1672381 w 1672381"/>
                <a:gd name="connsiteY3" fmla="*/ 100343 h 1003428"/>
                <a:gd name="connsiteX4" fmla="*/ 1672381 w 1672381"/>
                <a:gd name="connsiteY4" fmla="*/ 903085 h 1003428"/>
                <a:gd name="connsiteX5" fmla="*/ 1572038 w 1672381"/>
                <a:gd name="connsiteY5" fmla="*/ 1003428 h 1003428"/>
                <a:gd name="connsiteX6" fmla="*/ 100343 w 1672381"/>
                <a:gd name="connsiteY6" fmla="*/ 1003428 h 1003428"/>
                <a:gd name="connsiteX7" fmla="*/ 0 w 1672381"/>
                <a:gd name="connsiteY7" fmla="*/ 903085 h 1003428"/>
                <a:gd name="connsiteX8" fmla="*/ 0 w 1672381"/>
                <a:gd name="connsiteY8" fmla="*/ 100343 h 10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381" h="1003428">
                  <a:moveTo>
                    <a:pt x="0" y="100343"/>
                  </a:moveTo>
                  <a:cubicBezTo>
                    <a:pt x="0" y="44925"/>
                    <a:pt x="44925" y="0"/>
                    <a:pt x="100343" y="0"/>
                  </a:cubicBezTo>
                  <a:lnTo>
                    <a:pt x="1572038" y="0"/>
                  </a:lnTo>
                  <a:cubicBezTo>
                    <a:pt x="1627456" y="0"/>
                    <a:pt x="1672381" y="44925"/>
                    <a:pt x="1672381" y="100343"/>
                  </a:cubicBezTo>
                  <a:lnTo>
                    <a:pt x="1672381" y="903085"/>
                  </a:lnTo>
                  <a:cubicBezTo>
                    <a:pt x="1672381" y="958503"/>
                    <a:pt x="1627456" y="1003428"/>
                    <a:pt x="1572038" y="1003428"/>
                  </a:cubicBezTo>
                  <a:lnTo>
                    <a:pt x="100343" y="1003428"/>
                  </a:lnTo>
                  <a:cubicBezTo>
                    <a:pt x="44925" y="1003428"/>
                    <a:pt x="0" y="958503"/>
                    <a:pt x="0" y="903085"/>
                  </a:cubicBezTo>
                  <a:lnTo>
                    <a:pt x="0" y="10034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489" tIns="67489" rIns="67489" bIns="67489" numCol="1" spcCol="1270" anchor="ctr" anchorCtr="0">
              <a:noAutofit/>
            </a:bodyPr>
            <a:lstStyle/>
            <a:p>
              <a:pPr marL="0" lvl="0" indent="0" algn="ctr" defTabSz="444500">
                <a:lnSpc>
                  <a:spcPct val="90000"/>
                </a:lnSpc>
                <a:spcBef>
                  <a:spcPct val="0"/>
                </a:spcBef>
                <a:spcAft>
                  <a:spcPct val="35000"/>
                </a:spcAft>
                <a:buNone/>
              </a:pPr>
              <a:r>
                <a:rPr lang="en-US" sz="1100" kern="1200" dirty="0"/>
                <a:t>Repeat steps 2 and 3 until a sufficiency threshold is met</a:t>
              </a:r>
            </a:p>
          </p:txBody>
        </p:sp>
        <p:sp>
          <p:nvSpPr>
            <p:cNvPr id="23" name="Freeform: Shape 22">
              <a:extLst>
                <a:ext uri="{FF2B5EF4-FFF2-40B4-BE49-F238E27FC236}">
                  <a16:creationId xmlns:a16="http://schemas.microsoft.com/office/drawing/2014/main" id="{03360898-AB20-43E3-BBF2-8CD2FC48689F}"/>
                </a:ext>
              </a:extLst>
            </p:cNvPr>
            <p:cNvSpPr/>
            <p:nvPr/>
          </p:nvSpPr>
          <p:spPr>
            <a:xfrm>
              <a:off x="7384957" y="4650178"/>
              <a:ext cx="414750" cy="354544"/>
            </a:xfrm>
            <a:custGeom>
              <a:avLst/>
              <a:gdLst>
                <a:gd name="connsiteX0" fmla="*/ 0 w 354544"/>
                <a:gd name="connsiteY0" fmla="*/ 82950 h 414750"/>
                <a:gd name="connsiteX1" fmla="*/ 177272 w 354544"/>
                <a:gd name="connsiteY1" fmla="*/ 82950 h 414750"/>
                <a:gd name="connsiteX2" fmla="*/ 177272 w 354544"/>
                <a:gd name="connsiteY2" fmla="*/ 0 h 414750"/>
                <a:gd name="connsiteX3" fmla="*/ 354544 w 354544"/>
                <a:gd name="connsiteY3" fmla="*/ 207375 h 414750"/>
                <a:gd name="connsiteX4" fmla="*/ 177272 w 354544"/>
                <a:gd name="connsiteY4" fmla="*/ 414750 h 414750"/>
                <a:gd name="connsiteX5" fmla="*/ 177272 w 354544"/>
                <a:gd name="connsiteY5" fmla="*/ 331800 h 414750"/>
                <a:gd name="connsiteX6" fmla="*/ 0 w 354544"/>
                <a:gd name="connsiteY6" fmla="*/ 331800 h 414750"/>
                <a:gd name="connsiteX7" fmla="*/ 0 w 354544"/>
                <a:gd name="connsiteY7" fmla="*/ 82950 h 4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44" h="414750">
                  <a:moveTo>
                    <a:pt x="283635" y="0"/>
                  </a:moveTo>
                  <a:lnTo>
                    <a:pt x="283635" y="207375"/>
                  </a:lnTo>
                  <a:lnTo>
                    <a:pt x="354544" y="207375"/>
                  </a:lnTo>
                  <a:lnTo>
                    <a:pt x="177272" y="414750"/>
                  </a:lnTo>
                  <a:lnTo>
                    <a:pt x="0" y="207375"/>
                  </a:lnTo>
                  <a:lnTo>
                    <a:pt x="70909" y="207375"/>
                  </a:lnTo>
                  <a:lnTo>
                    <a:pt x="70909" y="0"/>
                  </a:lnTo>
                  <a:lnTo>
                    <a:pt x="283635"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82951" tIns="0" rIns="82949" bIns="106363" numCol="1" spcCol="1270" anchor="ctr" anchorCtr="0">
              <a:noAutofit/>
            </a:bodyPr>
            <a:lstStyle/>
            <a:p>
              <a:pPr marL="0" lvl="0" indent="0" algn="ctr" defTabSz="355600">
                <a:lnSpc>
                  <a:spcPct val="90000"/>
                </a:lnSpc>
                <a:spcBef>
                  <a:spcPct val="0"/>
                </a:spcBef>
                <a:spcAft>
                  <a:spcPct val="35000"/>
                </a:spcAft>
                <a:buNone/>
              </a:pPr>
              <a:endParaRPr lang="en-US" sz="1000" kern="1200"/>
            </a:p>
          </p:txBody>
        </p:sp>
        <p:sp>
          <p:nvSpPr>
            <p:cNvPr id="24" name="Freeform: Shape 23">
              <a:extLst>
                <a:ext uri="{FF2B5EF4-FFF2-40B4-BE49-F238E27FC236}">
                  <a16:creationId xmlns:a16="http://schemas.microsoft.com/office/drawing/2014/main" id="{30988B43-B6DD-465E-97E5-8B007142C0D8}"/>
                </a:ext>
              </a:extLst>
            </p:cNvPr>
            <p:cNvSpPr/>
            <p:nvPr/>
          </p:nvSpPr>
          <p:spPr>
            <a:xfrm>
              <a:off x="6756142" y="5171961"/>
              <a:ext cx="1672381" cy="1003428"/>
            </a:xfrm>
            <a:custGeom>
              <a:avLst/>
              <a:gdLst>
                <a:gd name="connsiteX0" fmla="*/ 0 w 1672381"/>
                <a:gd name="connsiteY0" fmla="*/ 100343 h 1003428"/>
                <a:gd name="connsiteX1" fmla="*/ 100343 w 1672381"/>
                <a:gd name="connsiteY1" fmla="*/ 0 h 1003428"/>
                <a:gd name="connsiteX2" fmla="*/ 1572038 w 1672381"/>
                <a:gd name="connsiteY2" fmla="*/ 0 h 1003428"/>
                <a:gd name="connsiteX3" fmla="*/ 1672381 w 1672381"/>
                <a:gd name="connsiteY3" fmla="*/ 100343 h 1003428"/>
                <a:gd name="connsiteX4" fmla="*/ 1672381 w 1672381"/>
                <a:gd name="connsiteY4" fmla="*/ 903085 h 1003428"/>
                <a:gd name="connsiteX5" fmla="*/ 1572038 w 1672381"/>
                <a:gd name="connsiteY5" fmla="*/ 1003428 h 1003428"/>
                <a:gd name="connsiteX6" fmla="*/ 100343 w 1672381"/>
                <a:gd name="connsiteY6" fmla="*/ 1003428 h 1003428"/>
                <a:gd name="connsiteX7" fmla="*/ 0 w 1672381"/>
                <a:gd name="connsiteY7" fmla="*/ 903085 h 1003428"/>
                <a:gd name="connsiteX8" fmla="*/ 0 w 1672381"/>
                <a:gd name="connsiteY8" fmla="*/ 100343 h 10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381" h="1003428">
                  <a:moveTo>
                    <a:pt x="0" y="100343"/>
                  </a:moveTo>
                  <a:cubicBezTo>
                    <a:pt x="0" y="44925"/>
                    <a:pt x="44925" y="0"/>
                    <a:pt x="100343" y="0"/>
                  </a:cubicBezTo>
                  <a:lnTo>
                    <a:pt x="1572038" y="0"/>
                  </a:lnTo>
                  <a:cubicBezTo>
                    <a:pt x="1627456" y="0"/>
                    <a:pt x="1672381" y="44925"/>
                    <a:pt x="1672381" y="100343"/>
                  </a:cubicBezTo>
                  <a:lnTo>
                    <a:pt x="1672381" y="903085"/>
                  </a:lnTo>
                  <a:cubicBezTo>
                    <a:pt x="1672381" y="958503"/>
                    <a:pt x="1627456" y="1003428"/>
                    <a:pt x="1572038" y="1003428"/>
                  </a:cubicBezTo>
                  <a:lnTo>
                    <a:pt x="100343" y="1003428"/>
                  </a:lnTo>
                  <a:cubicBezTo>
                    <a:pt x="44925" y="1003428"/>
                    <a:pt x="0" y="958503"/>
                    <a:pt x="0" y="903085"/>
                  </a:cubicBezTo>
                  <a:lnTo>
                    <a:pt x="0" y="10034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489" tIns="67489" rIns="67489" bIns="67489" numCol="1" spcCol="1270" anchor="ctr" anchorCtr="0">
              <a:noAutofit/>
            </a:bodyPr>
            <a:lstStyle/>
            <a:p>
              <a:pPr marL="0" lvl="0" indent="0" algn="ctr" defTabSz="444500">
                <a:lnSpc>
                  <a:spcPct val="90000"/>
                </a:lnSpc>
                <a:spcBef>
                  <a:spcPct val="0"/>
                </a:spcBef>
                <a:spcAft>
                  <a:spcPct val="35000"/>
                </a:spcAft>
                <a:buNone/>
              </a:pPr>
              <a:r>
                <a:rPr lang="en-US" sz="1100" kern="1200" dirty="0"/>
                <a:t>Develop consensus estimate as weighted sum of models. Sequence of weights is called the “learning rate” or the “shrinkage” rate of the algorithm.</a:t>
              </a:r>
            </a:p>
          </p:txBody>
        </p:sp>
        <p:sp>
          <p:nvSpPr>
            <p:cNvPr id="14" name="Arrow: Left 13">
              <a:extLst>
                <a:ext uri="{FF2B5EF4-FFF2-40B4-BE49-F238E27FC236}">
                  <a16:creationId xmlns:a16="http://schemas.microsoft.com/office/drawing/2014/main" id="{764765FD-2655-461B-88C8-F611D64A7968}"/>
                </a:ext>
              </a:extLst>
            </p:cNvPr>
            <p:cNvSpPr/>
            <p:nvPr/>
          </p:nvSpPr>
          <p:spPr>
            <a:xfrm rot="7904519">
              <a:off x="8485139" y="2910420"/>
              <a:ext cx="616962" cy="452506"/>
            </a:xfrm>
            <a:prstGeom prst="leftArrow">
              <a:avLst/>
            </a:prstGeom>
            <a:solidFill>
              <a:srgbClr val="4472C4">
                <a:tint val="60000"/>
                <a:hueOff val="0"/>
                <a:satOff val="0"/>
                <a:lumOff val="0"/>
                <a:alphaOff val="0"/>
              </a:srgbClr>
            </a:solidFill>
            <a:ln>
              <a:noFill/>
            </a:ln>
            <a:effectLst/>
          </p:spPr>
          <p:txBody>
            <a:bodyPr spcFirstLastPara="0" vert="horz" wrap="square" lIns="0" tIns="0" rIns="0" bIns="0" numCol="1" spcCol="1270" anchor="ctr" anchorCtr="0">
              <a:noAutofit/>
            </a:bodyPr>
            <a:lstStyle/>
            <a:p>
              <a:endParaRPr lang="en-US" sz="2400"/>
            </a:p>
          </p:txBody>
        </p:sp>
      </p:grpSp>
    </p:spTree>
    <p:extLst>
      <p:ext uri="{BB962C8B-B14F-4D97-AF65-F5344CB8AC3E}">
        <p14:creationId xmlns:p14="http://schemas.microsoft.com/office/powerpoint/2010/main" val="699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342B51D-83DC-4264-8F3A-A626293C72B4}"/>
              </a:ext>
            </a:extLst>
          </p:cNvPr>
          <p:cNvGrpSpPr/>
          <p:nvPr/>
        </p:nvGrpSpPr>
        <p:grpSpPr>
          <a:xfrm>
            <a:off x="4263283" y="559690"/>
            <a:ext cx="7247704" cy="5780419"/>
            <a:chOff x="2340433" y="304049"/>
            <a:chExt cx="7795696" cy="6217471"/>
          </a:xfrm>
        </p:grpSpPr>
        <p:pic>
          <p:nvPicPr>
            <p:cNvPr id="5" name="Picture 4">
              <a:extLst>
                <a:ext uri="{FF2B5EF4-FFF2-40B4-BE49-F238E27FC236}">
                  <a16:creationId xmlns:a16="http://schemas.microsoft.com/office/drawing/2014/main" id="{D5B45DEE-FA4C-45E8-8E22-69D89CCB15EF}"/>
                </a:ext>
              </a:extLst>
            </p:cNvPr>
            <p:cNvPicPr>
              <a:picLocks noChangeAspect="1"/>
            </p:cNvPicPr>
            <p:nvPr/>
          </p:nvPicPr>
          <p:blipFill>
            <a:blip r:embed="rId2"/>
            <a:stretch>
              <a:fillRect/>
            </a:stretch>
          </p:blipFill>
          <p:spPr>
            <a:xfrm>
              <a:off x="2340433" y="304049"/>
              <a:ext cx="3803473" cy="3045120"/>
            </a:xfrm>
            <a:prstGeom prst="rect">
              <a:avLst/>
            </a:prstGeom>
          </p:spPr>
        </p:pic>
        <p:pic>
          <p:nvPicPr>
            <p:cNvPr id="6" name="Picture 5">
              <a:extLst>
                <a:ext uri="{FF2B5EF4-FFF2-40B4-BE49-F238E27FC236}">
                  <a16:creationId xmlns:a16="http://schemas.microsoft.com/office/drawing/2014/main" id="{A9CD9FBB-12E8-4F58-876F-F4417C42EDA5}"/>
                </a:ext>
              </a:extLst>
            </p:cNvPr>
            <p:cNvPicPr>
              <a:picLocks noChangeAspect="1"/>
            </p:cNvPicPr>
            <p:nvPr/>
          </p:nvPicPr>
          <p:blipFill>
            <a:blip r:embed="rId3"/>
            <a:stretch>
              <a:fillRect/>
            </a:stretch>
          </p:blipFill>
          <p:spPr>
            <a:xfrm>
              <a:off x="6247947" y="304049"/>
              <a:ext cx="3888182" cy="3045120"/>
            </a:xfrm>
            <a:prstGeom prst="rect">
              <a:avLst/>
            </a:prstGeom>
          </p:spPr>
        </p:pic>
        <p:pic>
          <p:nvPicPr>
            <p:cNvPr id="7" name="Picture 6">
              <a:extLst>
                <a:ext uri="{FF2B5EF4-FFF2-40B4-BE49-F238E27FC236}">
                  <a16:creationId xmlns:a16="http://schemas.microsoft.com/office/drawing/2014/main" id="{1867A621-CE80-4412-8B0D-5FCF6EC83E71}"/>
                </a:ext>
              </a:extLst>
            </p:cNvPr>
            <p:cNvPicPr>
              <a:picLocks noChangeAspect="1"/>
            </p:cNvPicPr>
            <p:nvPr/>
          </p:nvPicPr>
          <p:blipFill>
            <a:blip r:embed="rId4"/>
            <a:stretch>
              <a:fillRect/>
            </a:stretch>
          </p:blipFill>
          <p:spPr>
            <a:xfrm>
              <a:off x="2340433" y="3471802"/>
              <a:ext cx="3796311" cy="3045120"/>
            </a:xfrm>
            <a:prstGeom prst="rect">
              <a:avLst/>
            </a:prstGeom>
          </p:spPr>
        </p:pic>
        <p:pic>
          <p:nvPicPr>
            <p:cNvPr id="10" name="Picture 9">
              <a:extLst>
                <a:ext uri="{FF2B5EF4-FFF2-40B4-BE49-F238E27FC236}">
                  <a16:creationId xmlns:a16="http://schemas.microsoft.com/office/drawing/2014/main" id="{8F40D3E6-150C-4C7A-ABBD-C393E35E1B4D}"/>
                </a:ext>
              </a:extLst>
            </p:cNvPr>
            <p:cNvPicPr>
              <a:picLocks noChangeAspect="1"/>
            </p:cNvPicPr>
            <p:nvPr/>
          </p:nvPicPr>
          <p:blipFill>
            <a:blip r:embed="rId5"/>
            <a:stretch>
              <a:fillRect/>
            </a:stretch>
          </p:blipFill>
          <p:spPr>
            <a:xfrm>
              <a:off x="6247947" y="3471802"/>
              <a:ext cx="3888182" cy="3049718"/>
            </a:xfrm>
            <a:prstGeom prst="rect">
              <a:avLst/>
            </a:prstGeom>
          </p:spPr>
        </p:pic>
      </p:grpSp>
      <p:graphicFrame>
        <p:nvGraphicFramePr>
          <p:cNvPr id="14" name="Content Placeholder 13">
            <a:extLst>
              <a:ext uri="{FF2B5EF4-FFF2-40B4-BE49-F238E27FC236}">
                <a16:creationId xmlns:a16="http://schemas.microsoft.com/office/drawing/2014/main" id="{E70CEA88-A0F8-4540-878D-961E32B04FF3}"/>
              </a:ext>
            </a:extLst>
          </p:cNvPr>
          <p:cNvGraphicFramePr>
            <a:graphicFrameLocks noGrp="1"/>
          </p:cNvGraphicFramePr>
          <p:nvPr>
            <p:ph idx="1"/>
            <p:extLst>
              <p:ext uri="{D42A27DB-BD31-4B8C-83A1-F6EECF244321}">
                <p14:modId xmlns:p14="http://schemas.microsoft.com/office/powerpoint/2010/main" val="2881287319"/>
              </p:ext>
            </p:extLst>
          </p:nvPr>
        </p:nvGraphicFramePr>
        <p:xfrm>
          <a:off x="785948" y="1108330"/>
          <a:ext cx="3014849" cy="435133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AFC323D2-934E-433F-A7F1-22236CEE92FF}"/>
              </a:ext>
            </a:extLst>
          </p:cNvPr>
          <p:cNvSpPr txBox="1"/>
          <p:nvPr/>
        </p:nvSpPr>
        <p:spPr>
          <a:xfrm>
            <a:off x="172964" y="5920335"/>
            <a:ext cx="1123321" cy="830997"/>
          </a:xfrm>
          <a:prstGeom prst="rect">
            <a:avLst/>
          </a:prstGeom>
          <a:noFill/>
        </p:spPr>
        <p:txBody>
          <a:bodyPr wrap="none" rtlCol="0">
            <a:spAutoFit/>
          </a:bodyPr>
          <a:lstStyle/>
          <a:p>
            <a:r>
              <a:rPr lang="en-US" sz="1600" b="1" dirty="0">
                <a:latin typeface="+mj-lt"/>
              </a:rPr>
              <a:t>R packages:</a:t>
            </a:r>
          </a:p>
          <a:p>
            <a:r>
              <a:rPr lang="en-US" sz="1600" dirty="0">
                <a:latin typeface="+mj-lt"/>
                <a:cs typeface="Courier New" panose="02070309020205020404" pitchFamily="49" charset="0"/>
              </a:rPr>
              <a:t>caret</a:t>
            </a:r>
          </a:p>
          <a:p>
            <a:r>
              <a:rPr lang="en-US" sz="1600" dirty="0" err="1">
                <a:latin typeface="+mj-lt"/>
                <a:cs typeface="Courier New" panose="02070309020205020404" pitchFamily="49" charset="0"/>
              </a:rPr>
              <a:t>xgboost</a:t>
            </a:r>
            <a:endParaRPr lang="en-US" sz="1600" dirty="0">
              <a:latin typeface="+mj-lt"/>
              <a:cs typeface="Courier New" panose="02070309020205020404" pitchFamily="49" charset="0"/>
            </a:endParaRPr>
          </a:p>
        </p:txBody>
      </p:sp>
    </p:spTree>
    <p:extLst>
      <p:ext uri="{BB962C8B-B14F-4D97-AF65-F5344CB8AC3E}">
        <p14:creationId xmlns:p14="http://schemas.microsoft.com/office/powerpoint/2010/main" val="2381563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C534C1-7C3A-4924-977B-7DCD26F34FE6}"/>
              </a:ext>
            </a:extLst>
          </p:cNvPr>
          <p:cNvPicPr>
            <a:picLocks noChangeAspect="1"/>
          </p:cNvPicPr>
          <p:nvPr/>
        </p:nvPicPr>
        <p:blipFill>
          <a:blip r:embed="rId2"/>
          <a:stretch>
            <a:fillRect/>
          </a:stretch>
        </p:blipFill>
        <p:spPr>
          <a:xfrm>
            <a:off x="6704628" y="383627"/>
            <a:ext cx="4847974" cy="6090745"/>
          </a:xfrm>
          <a:prstGeom prst="rect">
            <a:avLst/>
          </a:prstGeom>
        </p:spPr>
      </p:pic>
      <p:sp>
        <p:nvSpPr>
          <p:cNvPr id="4" name="Title 3">
            <a:extLst>
              <a:ext uri="{FF2B5EF4-FFF2-40B4-BE49-F238E27FC236}">
                <a16:creationId xmlns:a16="http://schemas.microsoft.com/office/drawing/2014/main" id="{9A355032-4E18-43DA-9CB0-1CC624D4C200}"/>
              </a:ext>
            </a:extLst>
          </p:cNvPr>
          <p:cNvSpPr>
            <a:spLocks noGrp="1"/>
          </p:cNvSpPr>
          <p:nvPr>
            <p:ph type="title"/>
          </p:nvPr>
        </p:nvSpPr>
        <p:spPr>
          <a:xfrm>
            <a:off x="498566" y="123324"/>
            <a:ext cx="5155039" cy="1325563"/>
          </a:xfrm>
        </p:spPr>
        <p:txBody>
          <a:bodyPr/>
          <a:lstStyle/>
          <a:p>
            <a:r>
              <a:rPr lang="en-US" dirty="0"/>
              <a:t>Feature Importance</a:t>
            </a:r>
          </a:p>
        </p:txBody>
      </p:sp>
      <p:graphicFrame>
        <p:nvGraphicFramePr>
          <p:cNvPr id="8" name="Content Placeholder 7">
            <a:extLst>
              <a:ext uri="{FF2B5EF4-FFF2-40B4-BE49-F238E27FC236}">
                <a16:creationId xmlns:a16="http://schemas.microsoft.com/office/drawing/2014/main" id="{C91C1F4C-6368-4C66-8839-DA56FF9C1C70}"/>
              </a:ext>
            </a:extLst>
          </p:cNvPr>
          <p:cNvGraphicFramePr>
            <a:graphicFrameLocks noGrp="1"/>
          </p:cNvGraphicFramePr>
          <p:nvPr>
            <p:ph idx="1"/>
            <p:extLst>
              <p:ext uri="{D42A27DB-BD31-4B8C-83A1-F6EECF244321}">
                <p14:modId xmlns:p14="http://schemas.microsoft.com/office/powerpoint/2010/main" val="4194048367"/>
              </p:ext>
            </p:extLst>
          </p:nvPr>
        </p:nvGraphicFramePr>
        <p:xfrm>
          <a:off x="903950" y="1584310"/>
          <a:ext cx="4911634" cy="3997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Left Brace 8">
            <a:extLst>
              <a:ext uri="{FF2B5EF4-FFF2-40B4-BE49-F238E27FC236}">
                <a16:creationId xmlns:a16="http://schemas.microsoft.com/office/drawing/2014/main" id="{5D18C1D3-E0EC-4F0A-801F-C199327A1DC8}"/>
              </a:ext>
            </a:extLst>
          </p:cNvPr>
          <p:cNvSpPr/>
          <p:nvPr/>
        </p:nvSpPr>
        <p:spPr>
          <a:xfrm rot="10800000">
            <a:off x="7965440" y="2692400"/>
            <a:ext cx="381000" cy="3361646"/>
          </a:xfrm>
          <a:prstGeom prst="leftBrace">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EAC822C4-7AE8-45AD-AFCE-E2BCD8BB26C1}"/>
              </a:ext>
            </a:extLst>
          </p:cNvPr>
          <p:cNvSpPr txBox="1"/>
          <p:nvPr/>
        </p:nvSpPr>
        <p:spPr>
          <a:xfrm>
            <a:off x="8575041" y="4109720"/>
            <a:ext cx="2352040" cy="646331"/>
          </a:xfrm>
          <a:prstGeom prst="rect">
            <a:avLst/>
          </a:prstGeom>
          <a:noFill/>
        </p:spPr>
        <p:txBody>
          <a:bodyPr wrap="square" rtlCol="0">
            <a:spAutoFit/>
          </a:bodyPr>
          <a:lstStyle/>
          <a:p>
            <a:r>
              <a:rPr lang="en-US" dirty="0">
                <a:solidFill>
                  <a:srgbClr val="C00000"/>
                </a:solidFill>
              </a:rPr>
              <a:t>Most of these variables are false targets</a:t>
            </a:r>
          </a:p>
        </p:txBody>
      </p:sp>
    </p:spTree>
    <p:extLst>
      <p:ext uri="{BB962C8B-B14F-4D97-AF65-F5344CB8AC3E}">
        <p14:creationId xmlns:p14="http://schemas.microsoft.com/office/powerpoint/2010/main" val="38572679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al Dependence</a:t>
            </a:r>
          </a:p>
        </p:txBody>
      </p:sp>
      <p:sp>
        <p:nvSpPr>
          <p:cNvPr id="7" name="Content Placeholder 6">
            <a:extLst>
              <a:ext uri="{FF2B5EF4-FFF2-40B4-BE49-F238E27FC236}">
                <a16:creationId xmlns:a16="http://schemas.microsoft.com/office/drawing/2014/main" id="{B480B8FA-977D-47FC-9F31-70201974D861}"/>
              </a:ext>
            </a:extLst>
          </p:cNvPr>
          <p:cNvSpPr>
            <a:spLocks noGrp="1"/>
          </p:cNvSpPr>
          <p:nvPr>
            <p:ph idx="1"/>
          </p:nvPr>
        </p:nvSpPr>
        <p:spPr>
          <a:xfrm>
            <a:off x="838200" y="1825625"/>
            <a:ext cx="3860968" cy="4351338"/>
          </a:xfrm>
        </p:spPr>
        <p:txBody>
          <a:bodyPr>
            <a:normAutofit fontScale="92500" lnSpcReduction="20000"/>
          </a:bodyPr>
          <a:lstStyle/>
          <a:p>
            <a:r>
              <a:rPr lang="en-US" dirty="0">
                <a:latin typeface="+mj-lt"/>
              </a:rPr>
              <a:t>Hard to interpret ensemble models (“black box” problem).</a:t>
            </a:r>
          </a:p>
          <a:p>
            <a:r>
              <a:rPr lang="en-US" dirty="0">
                <a:latin typeface="+mj-lt"/>
              </a:rPr>
              <a:t>Can we relate back to the original functional approximation problem?</a:t>
            </a:r>
          </a:p>
          <a:p>
            <a:r>
              <a:rPr lang="en-US" dirty="0">
                <a:latin typeface="+mj-lt"/>
              </a:rPr>
              <a:t>SHAP (Shapley) values look at the contribution of each predictor to the overall prediction at different values, conditional on other predictors.</a:t>
            </a:r>
          </a:p>
        </p:txBody>
      </p:sp>
      <p:pic>
        <p:nvPicPr>
          <p:cNvPr id="3" name="Picture 2">
            <a:extLst>
              <a:ext uri="{FF2B5EF4-FFF2-40B4-BE49-F238E27FC236}">
                <a16:creationId xmlns:a16="http://schemas.microsoft.com/office/drawing/2014/main" id="{BEF77665-E018-457A-9C7E-921FFD587506}"/>
              </a:ext>
            </a:extLst>
          </p:cNvPr>
          <p:cNvPicPr>
            <a:picLocks noChangeAspect="1"/>
          </p:cNvPicPr>
          <p:nvPr/>
        </p:nvPicPr>
        <p:blipFill>
          <a:blip r:embed="rId2"/>
          <a:stretch>
            <a:fillRect/>
          </a:stretch>
        </p:blipFill>
        <p:spPr>
          <a:xfrm>
            <a:off x="5056451" y="1690688"/>
            <a:ext cx="6673366" cy="4438400"/>
          </a:xfrm>
          <a:prstGeom prst="rect">
            <a:avLst/>
          </a:prstGeom>
        </p:spPr>
      </p:pic>
    </p:spTree>
    <p:extLst>
      <p:ext uri="{BB962C8B-B14F-4D97-AF65-F5344CB8AC3E}">
        <p14:creationId xmlns:p14="http://schemas.microsoft.com/office/powerpoint/2010/main" val="13511500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36036AC-EBAA-4E10-9A0C-F71A84E16C32}"/>
              </a:ext>
            </a:extLst>
          </p:cNvPr>
          <p:cNvGrpSpPr/>
          <p:nvPr/>
        </p:nvGrpSpPr>
        <p:grpSpPr>
          <a:xfrm>
            <a:off x="1901962" y="360313"/>
            <a:ext cx="9472065" cy="6327232"/>
            <a:chOff x="1901962" y="360313"/>
            <a:chExt cx="9472065" cy="6327232"/>
          </a:xfrm>
        </p:grpSpPr>
        <p:pic>
          <p:nvPicPr>
            <p:cNvPr id="15" name="Picture 14">
              <a:extLst>
                <a:ext uri="{FF2B5EF4-FFF2-40B4-BE49-F238E27FC236}">
                  <a16:creationId xmlns:a16="http://schemas.microsoft.com/office/drawing/2014/main" id="{BDF7FE1F-8F47-47C7-9ABC-9E67A1C657B5}"/>
                </a:ext>
              </a:extLst>
            </p:cNvPr>
            <p:cNvPicPr>
              <a:picLocks noChangeAspect="1"/>
            </p:cNvPicPr>
            <p:nvPr/>
          </p:nvPicPr>
          <p:blipFill>
            <a:blip r:embed="rId2"/>
            <a:stretch>
              <a:fillRect/>
            </a:stretch>
          </p:blipFill>
          <p:spPr>
            <a:xfrm>
              <a:off x="1902488" y="360313"/>
              <a:ext cx="3138521" cy="3163616"/>
            </a:xfrm>
            <a:prstGeom prst="rect">
              <a:avLst/>
            </a:prstGeom>
          </p:spPr>
        </p:pic>
        <p:pic>
          <p:nvPicPr>
            <p:cNvPr id="16" name="Picture 15">
              <a:extLst>
                <a:ext uri="{FF2B5EF4-FFF2-40B4-BE49-F238E27FC236}">
                  <a16:creationId xmlns:a16="http://schemas.microsoft.com/office/drawing/2014/main" id="{DEE99943-E0C4-47E2-A8BC-952D04033C6A}"/>
                </a:ext>
              </a:extLst>
            </p:cNvPr>
            <p:cNvPicPr>
              <a:picLocks noChangeAspect="1"/>
            </p:cNvPicPr>
            <p:nvPr/>
          </p:nvPicPr>
          <p:blipFill>
            <a:blip r:embed="rId3"/>
            <a:stretch>
              <a:fillRect/>
            </a:stretch>
          </p:blipFill>
          <p:spPr>
            <a:xfrm>
              <a:off x="5035227" y="360314"/>
              <a:ext cx="3183461" cy="3163615"/>
            </a:xfrm>
            <a:prstGeom prst="rect">
              <a:avLst/>
            </a:prstGeom>
          </p:spPr>
        </p:pic>
        <p:pic>
          <p:nvPicPr>
            <p:cNvPr id="17" name="Picture 16">
              <a:extLst>
                <a:ext uri="{FF2B5EF4-FFF2-40B4-BE49-F238E27FC236}">
                  <a16:creationId xmlns:a16="http://schemas.microsoft.com/office/drawing/2014/main" id="{D045DB5D-8DA6-457C-A5BD-F96E8AB990D3}"/>
                </a:ext>
              </a:extLst>
            </p:cNvPr>
            <p:cNvPicPr>
              <a:picLocks noChangeAspect="1"/>
            </p:cNvPicPr>
            <p:nvPr/>
          </p:nvPicPr>
          <p:blipFill>
            <a:blip r:embed="rId4"/>
            <a:stretch>
              <a:fillRect/>
            </a:stretch>
          </p:blipFill>
          <p:spPr>
            <a:xfrm>
              <a:off x="1901962" y="3523930"/>
              <a:ext cx="3160594" cy="3163615"/>
            </a:xfrm>
            <a:prstGeom prst="rect">
              <a:avLst/>
            </a:prstGeom>
          </p:spPr>
        </p:pic>
        <p:pic>
          <p:nvPicPr>
            <p:cNvPr id="18" name="Picture 17">
              <a:extLst>
                <a:ext uri="{FF2B5EF4-FFF2-40B4-BE49-F238E27FC236}">
                  <a16:creationId xmlns:a16="http://schemas.microsoft.com/office/drawing/2014/main" id="{9A14AED1-6B51-4B63-A1E8-CE2DD5BF2270}"/>
                </a:ext>
              </a:extLst>
            </p:cNvPr>
            <p:cNvPicPr>
              <a:picLocks noChangeAspect="1"/>
            </p:cNvPicPr>
            <p:nvPr/>
          </p:nvPicPr>
          <p:blipFill>
            <a:blip r:embed="rId5"/>
            <a:stretch>
              <a:fillRect/>
            </a:stretch>
          </p:blipFill>
          <p:spPr>
            <a:xfrm>
              <a:off x="5052046" y="3523929"/>
              <a:ext cx="3166643" cy="3163615"/>
            </a:xfrm>
            <a:prstGeom prst="rect">
              <a:avLst/>
            </a:prstGeom>
          </p:spPr>
        </p:pic>
        <p:pic>
          <p:nvPicPr>
            <p:cNvPr id="20" name="Picture 19">
              <a:extLst>
                <a:ext uri="{FF2B5EF4-FFF2-40B4-BE49-F238E27FC236}">
                  <a16:creationId xmlns:a16="http://schemas.microsoft.com/office/drawing/2014/main" id="{2AEBD3E7-040A-4C4C-A891-EADA47EE68F3}"/>
                </a:ext>
              </a:extLst>
            </p:cNvPr>
            <p:cNvPicPr>
              <a:picLocks noChangeAspect="1"/>
            </p:cNvPicPr>
            <p:nvPr/>
          </p:nvPicPr>
          <p:blipFill>
            <a:blip r:embed="rId6"/>
            <a:stretch>
              <a:fillRect/>
            </a:stretch>
          </p:blipFill>
          <p:spPr>
            <a:xfrm>
              <a:off x="8212640" y="3523928"/>
              <a:ext cx="3158310" cy="3163615"/>
            </a:xfrm>
            <a:prstGeom prst="rect">
              <a:avLst/>
            </a:prstGeom>
          </p:spPr>
        </p:pic>
        <p:pic>
          <p:nvPicPr>
            <p:cNvPr id="21" name="Picture 20">
              <a:extLst>
                <a:ext uri="{FF2B5EF4-FFF2-40B4-BE49-F238E27FC236}">
                  <a16:creationId xmlns:a16="http://schemas.microsoft.com/office/drawing/2014/main" id="{2E6127BA-A886-4A50-A015-EF1FB91A3697}"/>
                </a:ext>
              </a:extLst>
            </p:cNvPr>
            <p:cNvPicPr>
              <a:picLocks noChangeAspect="1"/>
            </p:cNvPicPr>
            <p:nvPr/>
          </p:nvPicPr>
          <p:blipFill>
            <a:blip r:embed="rId7"/>
            <a:stretch>
              <a:fillRect/>
            </a:stretch>
          </p:blipFill>
          <p:spPr>
            <a:xfrm>
              <a:off x="8196348" y="360313"/>
              <a:ext cx="3177679" cy="3163615"/>
            </a:xfrm>
            <a:prstGeom prst="rect">
              <a:avLst/>
            </a:prstGeom>
          </p:spPr>
        </p:pic>
      </p:grpSp>
      <p:sp>
        <p:nvSpPr>
          <p:cNvPr id="9" name="TextBox 8">
            <a:extLst>
              <a:ext uri="{FF2B5EF4-FFF2-40B4-BE49-F238E27FC236}">
                <a16:creationId xmlns:a16="http://schemas.microsoft.com/office/drawing/2014/main" id="{4C3A8163-0ECC-4E70-BE6A-FDFE1D346D26}"/>
              </a:ext>
            </a:extLst>
          </p:cNvPr>
          <p:cNvSpPr txBox="1"/>
          <p:nvPr/>
        </p:nvSpPr>
        <p:spPr>
          <a:xfrm>
            <a:off x="259389" y="5856546"/>
            <a:ext cx="1044773" cy="584775"/>
          </a:xfrm>
          <a:prstGeom prst="rect">
            <a:avLst/>
          </a:prstGeom>
          <a:noFill/>
        </p:spPr>
        <p:txBody>
          <a:bodyPr wrap="none" rtlCol="0">
            <a:spAutoFit/>
          </a:bodyPr>
          <a:lstStyle/>
          <a:p>
            <a:r>
              <a:rPr lang="en-US" sz="1600" b="1" dirty="0">
                <a:latin typeface="+mj-lt"/>
              </a:rPr>
              <a:t>R package:</a:t>
            </a:r>
          </a:p>
          <a:p>
            <a:r>
              <a:rPr lang="en-US" sz="1600" dirty="0" err="1">
                <a:latin typeface="+mj-lt"/>
                <a:cs typeface="Courier New" panose="02070309020205020404" pitchFamily="49" charset="0"/>
              </a:rPr>
              <a:t>pdp</a:t>
            </a:r>
            <a:endParaRPr lang="en-US" sz="1600" dirty="0">
              <a:latin typeface="+mj-lt"/>
              <a:cs typeface="Courier New" panose="02070309020205020404" pitchFamily="49" charset="0"/>
            </a:endParaRPr>
          </a:p>
        </p:txBody>
      </p:sp>
    </p:spTree>
    <p:extLst>
      <p:ext uri="{BB962C8B-B14F-4D97-AF65-F5344CB8AC3E}">
        <p14:creationId xmlns:p14="http://schemas.microsoft.com/office/powerpoint/2010/main" val="3766656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A7FADA9-F0C9-42B9-BCAC-027DE7751C26}"/>
              </a:ext>
            </a:extLst>
          </p:cNvPr>
          <p:cNvPicPr>
            <a:picLocks noChangeAspect="1"/>
          </p:cNvPicPr>
          <p:nvPr/>
        </p:nvPicPr>
        <p:blipFill>
          <a:blip r:embed="rId2"/>
          <a:stretch>
            <a:fillRect/>
          </a:stretch>
        </p:blipFill>
        <p:spPr>
          <a:xfrm>
            <a:off x="2230814" y="1048827"/>
            <a:ext cx="7080484" cy="5642713"/>
          </a:xfrm>
          <a:prstGeom prst="rect">
            <a:avLst/>
          </a:prstGeom>
        </p:spPr>
      </p:pic>
      <p:sp>
        <p:nvSpPr>
          <p:cNvPr id="2" name="Title 1"/>
          <p:cNvSpPr>
            <a:spLocks noGrp="1"/>
          </p:cNvSpPr>
          <p:nvPr>
            <p:ph type="title"/>
          </p:nvPr>
        </p:nvSpPr>
        <p:spPr>
          <a:xfrm>
            <a:off x="430639" y="250173"/>
            <a:ext cx="5343144" cy="883684"/>
          </a:xfrm>
        </p:spPr>
        <p:txBody>
          <a:bodyPr/>
          <a:lstStyle/>
          <a:p>
            <a:r>
              <a:rPr lang="en-US" dirty="0"/>
              <a:t>Now, how did we do?</a:t>
            </a:r>
          </a:p>
        </p:txBody>
      </p:sp>
      <p:sp>
        <p:nvSpPr>
          <p:cNvPr id="7" name="Arrow: Right 6"/>
          <p:cNvSpPr/>
          <p:nvPr/>
        </p:nvSpPr>
        <p:spPr>
          <a:xfrm rot="7205931">
            <a:off x="8198906" y="2487709"/>
            <a:ext cx="1350693" cy="386895"/>
          </a:xfrm>
          <a:prstGeom prst="rightArrow">
            <a:avLst/>
          </a:prstGeom>
          <a:solidFill>
            <a:schemeClr val="bg1">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2292" name="Picture 4" descr="Image result for awesome baby meme">
            <a:extLst>
              <a:ext uri="{FF2B5EF4-FFF2-40B4-BE49-F238E27FC236}">
                <a16:creationId xmlns:a16="http://schemas.microsoft.com/office/drawing/2014/main" id="{B813C472-8D6E-4B11-AE0D-3441AE256D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2875" y="1048022"/>
            <a:ext cx="1690270" cy="1162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755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DB66F6E8-4D4A-4907-940A-774703A2D0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9016005" y="5367908"/>
            <a:ext cx="3175996" cy="1490093"/>
          </a:xfrm>
          <a:custGeom>
            <a:avLst/>
            <a:gdLst>
              <a:gd name="connsiteX0" fmla="*/ 2485888 w 3175996"/>
              <a:gd name="connsiteY0" fmla="*/ 1490093 h 1490093"/>
              <a:gd name="connsiteX1" fmla="*/ 0 w 3175996"/>
              <a:gd name="connsiteY1" fmla="*/ 1490093 h 1490093"/>
              <a:gd name="connsiteX2" fmla="*/ 0 w 3175996"/>
              <a:gd name="connsiteY2" fmla="*/ 0 h 1490093"/>
              <a:gd name="connsiteX3" fmla="*/ 3175996 w 3175996"/>
              <a:gd name="connsiteY3" fmla="*/ 0 h 1490093"/>
            </a:gdLst>
            <a:ahLst/>
            <a:cxnLst>
              <a:cxn ang="0">
                <a:pos x="connsiteX0" y="connsiteY0"/>
              </a:cxn>
              <a:cxn ang="0">
                <a:pos x="connsiteX1" y="connsiteY1"/>
              </a:cxn>
              <a:cxn ang="0">
                <a:pos x="connsiteX2" y="connsiteY2"/>
              </a:cxn>
              <a:cxn ang="0">
                <a:pos x="connsiteX3" y="connsiteY3"/>
              </a:cxn>
            </a:cxnLst>
            <a:rect l="l" t="t" r="r" b="b"/>
            <a:pathLst>
              <a:path w="3175996" h="1490093">
                <a:moveTo>
                  <a:pt x="2485888" y="1490093"/>
                </a:moveTo>
                <a:lnTo>
                  <a:pt x="0" y="1490093"/>
                </a:lnTo>
                <a:lnTo>
                  <a:pt x="0" y="0"/>
                </a:lnTo>
                <a:lnTo>
                  <a:pt x="3175996"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Freeform: Shape 12">
            <a:extLst>
              <a:ext uri="{FF2B5EF4-FFF2-40B4-BE49-F238E27FC236}">
                <a16:creationId xmlns:a16="http://schemas.microsoft.com/office/drawing/2014/main" id="{8F1F5A56-E82B-4FD5-9025-B72896FFBB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566296" cy="1490093"/>
          </a:xfrm>
          <a:custGeom>
            <a:avLst/>
            <a:gdLst>
              <a:gd name="connsiteX0" fmla="*/ 0 w 9566296"/>
              <a:gd name="connsiteY0" fmla="*/ 0 h 1490093"/>
              <a:gd name="connsiteX1" fmla="*/ 405267 w 9566296"/>
              <a:gd name="connsiteY1" fmla="*/ 0 h 1490093"/>
              <a:gd name="connsiteX2" fmla="*/ 631857 w 9566296"/>
              <a:gd name="connsiteY2" fmla="*/ 0 h 1490093"/>
              <a:gd name="connsiteX3" fmla="*/ 2451761 w 9566296"/>
              <a:gd name="connsiteY3" fmla="*/ 0 h 1490093"/>
              <a:gd name="connsiteX4" fmla="*/ 2901880 w 9566296"/>
              <a:gd name="connsiteY4" fmla="*/ 0 h 1490093"/>
              <a:gd name="connsiteX5" fmla="*/ 3641106 w 9566296"/>
              <a:gd name="connsiteY5" fmla="*/ 0 h 1490093"/>
              <a:gd name="connsiteX6" fmla="*/ 9566296 w 9566296"/>
              <a:gd name="connsiteY6" fmla="*/ 0 h 1490093"/>
              <a:gd name="connsiteX7" fmla="*/ 8876188 w 9566296"/>
              <a:gd name="connsiteY7" fmla="*/ 1490093 h 1490093"/>
              <a:gd name="connsiteX8" fmla="*/ 631857 w 9566296"/>
              <a:gd name="connsiteY8" fmla="*/ 1490093 h 1490093"/>
              <a:gd name="connsiteX9" fmla="*/ 405267 w 9566296"/>
              <a:gd name="connsiteY9" fmla="*/ 1490093 h 1490093"/>
              <a:gd name="connsiteX10" fmla="*/ 0 w 9566296"/>
              <a:gd name="connsiteY10"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6296" h="1490093">
                <a:moveTo>
                  <a:pt x="0" y="0"/>
                </a:moveTo>
                <a:lnTo>
                  <a:pt x="405267" y="0"/>
                </a:lnTo>
                <a:lnTo>
                  <a:pt x="631857" y="0"/>
                </a:lnTo>
                <a:lnTo>
                  <a:pt x="2451761" y="0"/>
                </a:lnTo>
                <a:lnTo>
                  <a:pt x="2901880" y="0"/>
                </a:lnTo>
                <a:lnTo>
                  <a:pt x="3641106" y="0"/>
                </a:lnTo>
                <a:lnTo>
                  <a:pt x="9566296" y="0"/>
                </a:lnTo>
                <a:lnTo>
                  <a:pt x="8876188" y="1490093"/>
                </a:lnTo>
                <a:lnTo>
                  <a:pt x="631857" y="1490093"/>
                </a:lnTo>
                <a:lnTo>
                  <a:pt x="405267" y="1490093"/>
                </a:lnTo>
                <a:lnTo>
                  <a:pt x="0" y="1490093"/>
                </a:lnTo>
                <a:close/>
              </a:path>
            </a:pathLst>
          </a:custGeom>
          <a:solidFill>
            <a:schemeClr val="tx1">
              <a:lumMod val="65000"/>
              <a:lumOff val="3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2">
            <a:extLst>
              <a:ext uri="{FF2B5EF4-FFF2-40B4-BE49-F238E27FC236}">
                <a16:creationId xmlns:a16="http://schemas.microsoft.com/office/drawing/2014/main" id="{153DF15B-8F78-4CBC-BD0D-2264C652645F}"/>
              </a:ext>
            </a:extLst>
          </p:cNvPr>
          <p:cNvSpPr>
            <a:spLocks noGrp="1"/>
          </p:cNvSpPr>
          <p:nvPr>
            <p:ph type="title"/>
          </p:nvPr>
        </p:nvSpPr>
        <p:spPr>
          <a:xfrm>
            <a:off x="838200" y="5529884"/>
            <a:ext cx="8078342" cy="1096331"/>
          </a:xfrm>
        </p:spPr>
        <p:txBody>
          <a:bodyPr>
            <a:normAutofit/>
          </a:bodyPr>
          <a:lstStyle/>
          <a:p>
            <a:r>
              <a:rPr lang="en-US" sz="3400"/>
              <a:t>What have we learned from the simulation?</a:t>
            </a:r>
          </a:p>
        </p:txBody>
      </p:sp>
      <p:graphicFrame>
        <p:nvGraphicFramePr>
          <p:cNvPr id="6" name="Content Placeholder 3">
            <a:extLst>
              <a:ext uri="{FF2B5EF4-FFF2-40B4-BE49-F238E27FC236}">
                <a16:creationId xmlns:a16="http://schemas.microsoft.com/office/drawing/2014/main" id="{C525AAFB-601B-47E5-81C7-58C476B47DEC}"/>
              </a:ext>
            </a:extLst>
          </p:cNvPr>
          <p:cNvGraphicFramePr>
            <a:graphicFrameLocks noGrp="1"/>
          </p:cNvGraphicFramePr>
          <p:nvPr>
            <p:ph idx="1"/>
            <p:extLst>
              <p:ext uri="{D42A27DB-BD31-4B8C-83A1-F6EECF244321}">
                <p14:modId xmlns:p14="http://schemas.microsoft.com/office/powerpoint/2010/main" val="2125203722"/>
              </p:ext>
            </p:extLst>
          </p:nvPr>
        </p:nvGraphicFramePr>
        <p:xfrm>
          <a:off x="838200" y="643467"/>
          <a:ext cx="10515600" cy="4080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8450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AA36-2806-4493-93CF-2124257FCF3A}"/>
              </a:ext>
            </a:extLst>
          </p:cNvPr>
          <p:cNvSpPr>
            <a:spLocks noGrp="1"/>
          </p:cNvSpPr>
          <p:nvPr>
            <p:ph type="title"/>
          </p:nvPr>
        </p:nvSpPr>
        <p:spPr>
          <a:xfrm>
            <a:off x="838200" y="365125"/>
            <a:ext cx="10648950" cy="5413375"/>
          </a:xfrm>
        </p:spPr>
        <p:txBody>
          <a:bodyPr>
            <a:normAutofit/>
          </a:bodyPr>
          <a:lstStyle/>
          <a:p>
            <a:br>
              <a:rPr lang="en-US" sz="2800" dirty="0">
                <a:latin typeface="Arial" panose="020B0604020202020204" pitchFamily="34" charset="0"/>
              </a:rPr>
            </a:br>
            <a:br>
              <a:rPr lang="en-US" sz="2800" dirty="0">
                <a:latin typeface="Arial" panose="020B0604020202020204" pitchFamily="34" charset="0"/>
              </a:rPr>
            </a:br>
            <a:br>
              <a:rPr lang="en-US" sz="2800" dirty="0">
                <a:latin typeface="Arial" panose="020B0604020202020204" pitchFamily="34" charset="0"/>
              </a:rPr>
            </a:br>
            <a:r>
              <a:rPr lang="en-US" sz="2800" dirty="0">
                <a:latin typeface="Arial" panose="020B0604020202020204" pitchFamily="34" charset="0"/>
              </a:rPr>
              <a:t>Application:</a:t>
            </a:r>
            <a:br>
              <a:rPr lang="en-US" sz="2800" dirty="0">
                <a:latin typeface="Arial" panose="020B0604020202020204" pitchFamily="34" charset="0"/>
              </a:rPr>
            </a:br>
            <a:br>
              <a:rPr lang="en-US" sz="2800" dirty="0">
                <a:latin typeface="Arial" panose="020B0604020202020204" pitchFamily="34" charset="0"/>
              </a:rPr>
            </a:br>
            <a:r>
              <a:rPr lang="en-US" sz="2800" dirty="0">
                <a:latin typeface="Arial" panose="020B0604020202020204" pitchFamily="34" charset="0"/>
              </a:rPr>
              <a:t>Estimating Propensity Scores for the Receipt of Allogeneic Hematopoietic Cell Transplantation (AlloHCT) in Outcomes Research Using Claims Data: A Machine Learning Approach</a:t>
            </a:r>
            <a:br>
              <a:rPr lang="en-US" sz="2800" dirty="0">
                <a:latin typeface="Arial" panose="020B0604020202020204" pitchFamily="34" charset="0"/>
              </a:rPr>
            </a:br>
            <a:br>
              <a:rPr lang="en-US" sz="2800" dirty="0">
                <a:latin typeface="Arial" panose="020B0604020202020204" pitchFamily="34" charset="0"/>
              </a:rPr>
            </a:br>
            <a:r>
              <a:rPr lang="en-US" sz="2000" i="1" dirty="0">
                <a:latin typeface="Arial" panose="020B0604020202020204" pitchFamily="34" charset="0"/>
              </a:rPr>
              <a:t>Vanness DJ, Preussler JM, Burns LJ, Denzen EM, Leppke SN, Majhail NS, Mupfudze T, Saber W, Silver A, Steinert P, Mau LW. Biology of Blood and Marrow Transplantation. 2018 Mar 1;24(3):S304-5.</a:t>
            </a:r>
            <a:endParaRPr lang="en-US" sz="2800" dirty="0"/>
          </a:p>
        </p:txBody>
      </p:sp>
    </p:spTree>
    <p:extLst>
      <p:ext uri="{BB962C8B-B14F-4D97-AF65-F5344CB8AC3E}">
        <p14:creationId xmlns:p14="http://schemas.microsoft.com/office/powerpoint/2010/main" val="2827661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3F9E-00E4-4BFC-A2A8-832BBF73E50A}"/>
              </a:ext>
            </a:extLst>
          </p:cNvPr>
          <p:cNvSpPr>
            <a:spLocks noGrp="1"/>
          </p:cNvSpPr>
          <p:nvPr>
            <p:ph type="title"/>
          </p:nvPr>
        </p:nvSpPr>
        <p:spPr/>
        <p:txBody>
          <a:bodyPr/>
          <a:lstStyle/>
          <a:p>
            <a:r>
              <a:rPr lang="en-US"/>
              <a:t>Addressing Potential Confounders</a:t>
            </a:r>
            <a:endParaRPr lang="en-US" dirty="0"/>
          </a:p>
        </p:txBody>
      </p:sp>
      <p:sp>
        <p:nvSpPr>
          <p:cNvPr id="3" name="Content Placeholder 2">
            <a:extLst>
              <a:ext uri="{FF2B5EF4-FFF2-40B4-BE49-F238E27FC236}">
                <a16:creationId xmlns:a16="http://schemas.microsoft.com/office/drawing/2014/main" id="{5460EEC5-EE6B-4A6F-BA80-9DCB6D71FBED}"/>
              </a:ext>
            </a:extLst>
          </p:cNvPr>
          <p:cNvSpPr>
            <a:spLocks noGrp="1"/>
          </p:cNvSpPr>
          <p:nvPr>
            <p:ph idx="1"/>
          </p:nvPr>
        </p:nvSpPr>
        <p:spPr/>
        <p:txBody>
          <a:bodyPr>
            <a:normAutofit fontScale="92500" lnSpcReduction="10000"/>
          </a:bodyPr>
          <a:lstStyle/>
          <a:p>
            <a:r>
              <a:rPr lang="en-US" dirty="0">
                <a:latin typeface="+mj-lt"/>
              </a:rPr>
              <a:t>Propensity scores can be used to adjust for observed confounders that affect both selection of alloHCT selection and outcomes.</a:t>
            </a:r>
          </a:p>
          <a:p>
            <a:r>
              <a:rPr lang="en-US" dirty="0">
                <a:latin typeface="+mj-lt"/>
              </a:rPr>
              <a:t>Logistic regression (logit) is the standard approach to construct propensity scores.</a:t>
            </a:r>
          </a:p>
          <a:p>
            <a:r>
              <a:rPr lang="en-US" dirty="0">
                <a:latin typeface="+mj-lt"/>
              </a:rPr>
              <a:t>Machine learning may offer advantages when there are many possible predictors relative to observations or when interactions and discontinuities may be important but would be difficult to pre-specify.</a:t>
            </a:r>
            <a:r>
              <a:rPr lang="en-US" baseline="30000" dirty="0"/>
              <a:t> </a:t>
            </a:r>
            <a:r>
              <a:rPr lang="en-US" dirty="0"/>
              <a:t> </a:t>
            </a:r>
            <a:endParaRPr lang="en-US" dirty="0">
              <a:latin typeface="+mj-lt"/>
            </a:endParaRPr>
          </a:p>
          <a:p>
            <a:r>
              <a:rPr lang="en-US" dirty="0">
                <a:latin typeface="+mj-lt"/>
              </a:rPr>
              <a:t>Our aim was to compare propensity score distributions, treatment selection residuals and stabilized inverse propensity-weighted standardized differences in covariates between propensity scores constructed using logistic regression and the </a:t>
            </a:r>
            <a:r>
              <a:rPr lang="en-US" dirty="0" err="1">
                <a:latin typeface="+mj-lt"/>
              </a:rPr>
              <a:t>xgboost</a:t>
            </a:r>
            <a:r>
              <a:rPr lang="en-US" dirty="0">
                <a:latin typeface="+mj-lt"/>
              </a:rPr>
              <a:t> machine learning algorithm.</a:t>
            </a:r>
          </a:p>
        </p:txBody>
      </p:sp>
    </p:spTree>
    <p:extLst>
      <p:ext uri="{BB962C8B-B14F-4D97-AF65-F5344CB8AC3E}">
        <p14:creationId xmlns:p14="http://schemas.microsoft.com/office/powerpoint/2010/main" val="4050698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FC077-ADE4-414C-85E4-84C12FD76883}"/>
              </a:ext>
            </a:extLst>
          </p:cNvPr>
          <p:cNvSpPr>
            <a:spLocks noGrp="1"/>
          </p:cNvSpPr>
          <p:nvPr>
            <p:ph type="title"/>
          </p:nvPr>
        </p:nvSpPr>
        <p:spPr/>
        <p:txBody>
          <a:bodyPr/>
          <a:lstStyle/>
          <a:p>
            <a:r>
              <a:rPr lang="en-US" dirty="0"/>
              <a:t>Data</a:t>
            </a:r>
          </a:p>
        </p:txBody>
      </p:sp>
      <p:sp>
        <p:nvSpPr>
          <p:cNvPr id="3" name="Content Placeholder 2">
            <a:extLst>
              <a:ext uri="{FF2B5EF4-FFF2-40B4-BE49-F238E27FC236}">
                <a16:creationId xmlns:a16="http://schemas.microsoft.com/office/drawing/2014/main" id="{42CC2B7C-A90C-419B-981F-BBCE3E6C94CE}"/>
              </a:ext>
            </a:extLst>
          </p:cNvPr>
          <p:cNvSpPr>
            <a:spLocks noGrp="1"/>
          </p:cNvSpPr>
          <p:nvPr>
            <p:ph idx="1"/>
          </p:nvPr>
        </p:nvSpPr>
        <p:spPr/>
        <p:txBody>
          <a:bodyPr>
            <a:normAutofit/>
          </a:bodyPr>
          <a:lstStyle/>
          <a:p>
            <a:r>
              <a:rPr lang="en-US" dirty="0">
                <a:latin typeface="+mj-lt"/>
              </a:rPr>
              <a:t>A cohort was constructed using Optum Clinformatics Data Mart (2004- 2014) comprising medical and pharmacy claims from a large national insurer with 12.4 - 14 million unique members each year.</a:t>
            </a:r>
          </a:p>
          <a:p>
            <a:r>
              <a:rPr lang="en-US" dirty="0">
                <a:latin typeface="+mj-lt"/>
              </a:rPr>
              <a:t>Patients age ≥ 20 receiving alloHCT (n=278) or chemotherapy only (n=570) who met the following inclusion criteria were included:</a:t>
            </a:r>
          </a:p>
          <a:p>
            <a:pPr lvl="1"/>
            <a:r>
              <a:rPr lang="en-US" dirty="0">
                <a:latin typeface="+mj-lt"/>
              </a:rPr>
              <a:t>≥1 inpatient claim or 2 outpatient claims within 3 months having an ICD-9 code indicating AML</a:t>
            </a:r>
          </a:p>
          <a:p>
            <a:pPr lvl="1"/>
            <a:r>
              <a:rPr lang="en-US" dirty="0">
                <a:latin typeface="+mj-lt"/>
              </a:rPr>
              <a:t>≥2 months of continuous enrollment prior to the first claim with a diagnosis of AML (“diagnosis date”)</a:t>
            </a:r>
          </a:p>
          <a:p>
            <a:pPr lvl="1"/>
            <a:r>
              <a:rPr lang="en-US" dirty="0">
                <a:latin typeface="+mj-lt"/>
              </a:rPr>
              <a:t>No evidence of previous treatment for AML</a:t>
            </a:r>
          </a:p>
        </p:txBody>
      </p:sp>
    </p:spTree>
    <p:extLst>
      <p:ext uri="{BB962C8B-B14F-4D97-AF65-F5344CB8AC3E}">
        <p14:creationId xmlns:p14="http://schemas.microsoft.com/office/powerpoint/2010/main" val="2018295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65430" y="629267"/>
            <a:ext cx="6586491" cy="1083920"/>
          </a:xfrm>
        </p:spPr>
        <p:txBody>
          <a:bodyPr>
            <a:normAutofit/>
          </a:bodyPr>
          <a:lstStyle/>
          <a:p>
            <a:r>
              <a:rPr lang="en-US" dirty="0"/>
              <a:t>The Prediction Problem</a:t>
            </a:r>
          </a:p>
        </p:txBody>
      </p:sp>
      <p:pic>
        <p:nvPicPr>
          <p:cNvPr id="7" name="Picture 6" descr="A picture containing sitting, indoor, book, text&#10;&#10;Description automatically generated">
            <a:extLst>
              <a:ext uri="{FF2B5EF4-FFF2-40B4-BE49-F238E27FC236}">
                <a16:creationId xmlns:a16="http://schemas.microsoft.com/office/drawing/2014/main" id="{47CDF4C1-9CF2-4636-81F1-2B114C654AAE}"/>
              </a:ext>
            </a:extLst>
          </p:cNvPr>
          <p:cNvPicPr>
            <a:picLocks noChangeAspect="1"/>
          </p:cNvPicPr>
          <p:nvPr/>
        </p:nvPicPr>
        <p:blipFill rotWithShape="1">
          <a:blip r:embed="rId2">
            <a:extLst>
              <a:ext uri="{28A0092B-C50C-407E-A947-70E740481C1C}">
                <a14:useLocalDpi xmlns:a14="http://schemas.microsoft.com/office/drawing/2010/main" val="0"/>
              </a:ext>
            </a:extLst>
          </a:blip>
          <a:srcRect l="1848" r="8027"/>
          <a:stretch/>
        </p:blipFill>
        <p:spPr>
          <a:xfrm>
            <a:off x="20" y="10"/>
            <a:ext cx="4635571" cy="6857990"/>
          </a:xfrm>
          <a:prstGeom prst="rect">
            <a:avLst/>
          </a:prstGeom>
          <a:effectLst/>
        </p:spPr>
      </p:pic>
      <p:sp>
        <p:nvSpPr>
          <p:cNvPr id="3" name="Content Placeholder 2"/>
          <p:cNvSpPr>
            <a:spLocks noGrp="1"/>
          </p:cNvSpPr>
          <p:nvPr>
            <p:ph idx="1"/>
          </p:nvPr>
        </p:nvSpPr>
        <p:spPr>
          <a:xfrm>
            <a:off x="4965431" y="1676400"/>
            <a:ext cx="6783224" cy="4719782"/>
          </a:xfrm>
        </p:spPr>
        <p:txBody>
          <a:bodyPr>
            <a:normAutofit fontScale="70000" lnSpcReduction="20000"/>
          </a:bodyPr>
          <a:lstStyle/>
          <a:p>
            <a:r>
              <a:rPr lang="en-US" sz="2400" dirty="0"/>
              <a:t>Consider observed outcome Y and a set of contextual variables X.</a:t>
            </a:r>
          </a:p>
          <a:p>
            <a:pPr lvl="1"/>
            <a:r>
              <a:rPr lang="en-US" sz="2000" dirty="0"/>
              <a:t>ML practitioners often call Y a “label” (categorization) and X’s “features”</a:t>
            </a:r>
          </a:p>
          <a:p>
            <a:r>
              <a:rPr lang="en-US" sz="2400" dirty="0"/>
              <a:t>Suppose knowledge of X tells us something about the likely value of Y:</a:t>
            </a:r>
          </a:p>
          <a:p>
            <a:pPr lvl="1"/>
            <a:r>
              <a:rPr lang="en-US" sz="2000" dirty="0"/>
              <a:t>Causation: Y “listens to” X and changes in X will induce changes in Y</a:t>
            </a:r>
          </a:p>
          <a:p>
            <a:pPr lvl="1"/>
            <a:r>
              <a:rPr lang="en-US" sz="2000" dirty="0"/>
              <a:t>Correlation:</a:t>
            </a:r>
          </a:p>
          <a:p>
            <a:pPr lvl="2"/>
            <a:r>
              <a:rPr lang="en-US" sz="1600" dirty="0"/>
              <a:t>Confounding: Some other variable C, possibly unobserved, causes both Y and X</a:t>
            </a:r>
          </a:p>
          <a:p>
            <a:pPr lvl="2"/>
            <a:r>
              <a:rPr lang="en-US" sz="1600" dirty="0"/>
              <a:t>Colliding: Some other variable M is caused both by Y and X -&gt; within a given range of M, knowledge of X will allow us to more accurately guess Y</a:t>
            </a:r>
          </a:p>
          <a:p>
            <a:pPr lvl="1"/>
            <a:r>
              <a:rPr lang="en-US" sz="2000" dirty="0"/>
              <a:t>If we wish to intervene in the “data-generating process” to change Y, correlation is not enough: we need causation (future webinar by Prof. Sherri Rose).</a:t>
            </a:r>
          </a:p>
          <a:p>
            <a:r>
              <a:rPr lang="en-US" sz="2400" dirty="0"/>
              <a:t>But suppose we win or lose based on predictions we make today to deal with Y in the future.</a:t>
            </a:r>
          </a:p>
          <a:p>
            <a:pPr lvl="1"/>
            <a:r>
              <a:rPr lang="en-US" sz="2000" dirty="0"/>
              <a:t>Planning: making sure you have enough resources on hand to meet future demands given current conditions.</a:t>
            </a:r>
          </a:p>
          <a:p>
            <a:pPr lvl="2"/>
            <a:r>
              <a:rPr lang="en-US" sz="1600" dirty="0"/>
              <a:t>How likely is a patient to select a specific treatment?</a:t>
            </a:r>
          </a:p>
          <a:p>
            <a:pPr lvl="2"/>
            <a:r>
              <a:rPr lang="en-US" sz="1600" dirty="0"/>
              <a:t>How long is this patient likely to stay in the hospital given their current status?</a:t>
            </a:r>
          </a:p>
          <a:p>
            <a:pPr lvl="2"/>
            <a:r>
              <a:rPr lang="en-US" sz="1600" dirty="0"/>
              <a:t>How likely are they to return within 30 days if we discharge them today?</a:t>
            </a:r>
          </a:p>
          <a:p>
            <a:pPr lvl="2"/>
            <a:r>
              <a:rPr lang="en-US" sz="1600" dirty="0"/>
              <a:t>How likely are they to have an adverse event requiring management?</a:t>
            </a:r>
          </a:p>
          <a:p>
            <a:pPr lvl="1"/>
            <a:r>
              <a:rPr lang="en-US" sz="2000" dirty="0"/>
              <a:t>Adjustment / Compensation: given different sets of circumstances X, is it fair to compare Y’s?</a:t>
            </a:r>
          </a:p>
          <a:p>
            <a:pPr lvl="2"/>
            <a:r>
              <a:rPr lang="en-US" sz="1600" dirty="0"/>
              <a:t>Risk adjustment in pay-for-performance contracts</a:t>
            </a:r>
          </a:p>
          <a:p>
            <a:pPr lvl="1"/>
            <a:r>
              <a:rPr lang="en-US" sz="2000" dirty="0"/>
              <a:t>Speculation: Lots of ML in the world of finance!</a:t>
            </a:r>
          </a:p>
        </p:txBody>
      </p:sp>
      <p:sp>
        <p:nvSpPr>
          <p:cNvPr id="9" name="Rectangle 8">
            <a:extLst>
              <a:ext uri="{FF2B5EF4-FFF2-40B4-BE49-F238E27FC236}">
                <a16:creationId xmlns:a16="http://schemas.microsoft.com/office/drawing/2014/main" id="{B1BEECFE-FCD1-4C76-AEB0-0D21FA5CDE07}"/>
              </a:ext>
            </a:extLst>
          </p:cNvPr>
          <p:cNvSpPr/>
          <p:nvPr/>
        </p:nvSpPr>
        <p:spPr>
          <a:xfrm>
            <a:off x="320362" y="6596390"/>
            <a:ext cx="4315229" cy="261610"/>
          </a:xfrm>
          <a:prstGeom prst="rect">
            <a:avLst/>
          </a:prstGeom>
        </p:spPr>
        <p:txBody>
          <a:bodyPr wrap="square">
            <a:spAutoFit/>
          </a:bodyPr>
          <a:lstStyle/>
          <a:p>
            <a:pPr>
              <a:spcAft>
                <a:spcPts val="600"/>
              </a:spcAft>
            </a:pPr>
            <a:r>
              <a:rPr lang="en-US" sz="1100" dirty="0">
                <a:hlinkClick r:id="rId3">
                  <a:extLst>
                    <a:ext uri="{A12FA001-AC4F-418D-AE19-62706E023703}">
                      <ahyp:hlinkClr xmlns:ahyp="http://schemas.microsoft.com/office/drawing/2018/hyperlinkcolor" val="tx"/>
                    </a:ext>
                  </a:extLst>
                </a:hlinkClick>
              </a:rPr>
              <a:t>https://pixabay.com/photos/tarot-cards-mystic-prediction-3604473/</a:t>
            </a:r>
            <a:endParaRPr lang="en-US" sz="1100"/>
          </a:p>
        </p:txBody>
      </p:sp>
    </p:spTree>
    <p:extLst>
      <p:ext uri="{BB962C8B-B14F-4D97-AF65-F5344CB8AC3E}">
        <p14:creationId xmlns:p14="http://schemas.microsoft.com/office/powerpoint/2010/main" val="54625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3" end="1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AF0E0-9280-40C6-9C31-DE9D53D1F2E9}"/>
              </a:ext>
            </a:extLst>
          </p:cNvPr>
          <p:cNvSpPr>
            <a:spLocks noGrp="1"/>
          </p:cNvSpPr>
          <p:nvPr>
            <p:ph type="title"/>
          </p:nvPr>
        </p:nvSpPr>
        <p:spPr/>
        <p:txBody>
          <a:bodyPr/>
          <a:lstStyle/>
          <a:p>
            <a:r>
              <a:rPr lang="en-US" dirty="0"/>
              <a:t>Approach</a:t>
            </a:r>
          </a:p>
        </p:txBody>
      </p:sp>
      <p:sp>
        <p:nvSpPr>
          <p:cNvPr id="3" name="Content Placeholder 2">
            <a:extLst>
              <a:ext uri="{FF2B5EF4-FFF2-40B4-BE49-F238E27FC236}">
                <a16:creationId xmlns:a16="http://schemas.microsoft.com/office/drawing/2014/main" id="{7A4128C8-F232-4899-A819-453FFB528ECD}"/>
              </a:ext>
            </a:extLst>
          </p:cNvPr>
          <p:cNvSpPr>
            <a:spLocks noGrp="1"/>
          </p:cNvSpPr>
          <p:nvPr>
            <p:ph idx="1"/>
          </p:nvPr>
        </p:nvSpPr>
        <p:spPr/>
        <p:txBody>
          <a:bodyPr>
            <a:normAutofit fontScale="92500" lnSpcReduction="20000"/>
          </a:bodyPr>
          <a:lstStyle/>
          <a:p>
            <a:r>
              <a:rPr lang="en-US" dirty="0">
                <a:latin typeface="+mj-lt"/>
              </a:rPr>
              <a:t>We used </a:t>
            </a:r>
            <a:r>
              <a:rPr lang="en-US" dirty="0" err="1">
                <a:latin typeface="+mj-lt"/>
              </a:rPr>
              <a:t>glm</a:t>
            </a:r>
            <a:r>
              <a:rPr lang="en-US" dirty="0">
                <a:latin typeface="+mj-lt"/>
              </a:rPr>
              <a:t> (binomial family, logistic link) in R (3.2.0) to estimate the probability of receiving alloHCT (vs. chemotherapy only) conditional on the</a:t>
            </a:r>
            <a:br>
              <a:rPr lang="en-US" dirty="0">
                <a:latin typeface="+mj-lt"/>
              </a:rPr>
            </a:br>
            <a:r>
              <a:rPr lang="en-US" dirty="0">
                <a:latin typeface="+mj-lt"/>
              </a:rPr>
              <a:t>following covariates:</a:t>
            </a:r>
          </a:p>
          <a:p>
            <a:pPr lvl="1"/>
            <a:r>
              <a:rPr lang="en-US" i="1" dirty="0">
                <a:latin typeface="+mj-lt"/>
              </a:rPr>
              <a:t>Demographics: </a:t>
            </a:r>
            <a:r>
              <a:rPr lang="en-US" dirty="0">
                <a:latin typeface="+mj-lt"/>
              </a:rPr>
              <a:t>age, gender, region (Midwest, Northeast, South, West, Unknown and combinations), and year of diagnosis</a:t>
            </a:r>
          </a:p>
          <a:p>
            <a:pPr lvl="1"/>
            <a:r>
              <a:rPr lang="en-US" i="1" dirty="0">
                <a:latin typeface="+mj-lt"/>
              </a:rPr>
              <a:t>Insurance: </a:t>
            </a:r>
            <a:r>
              <a:rPr lang="en-US" dirty="0">
                <a:latin typeface="+mj-lt"/>
              </a:rPr>
              <a:t>payer (commercial, Medicare, combined commercial and Medicare), product (exclusive provider organization [EPO], point of service [POS], preferred provider organization [PPO] health maintenance organization [HMO], indemnity [IND], other, and combinations</a:t>
            </a:r>
          </a:p>
          <a:p>
            <a:pPr lvl="1"/>
            <a:r>
              <a:rPr lang="en-US" i="1" dirty="0">
                <a:latin typeface="+mj-lt"/>
              </a:rPr>
              <a:t>Baseline health status: </a:t>
            </a:r>
            <a:r>
              <a:rPr lang="en-US" dirty="0" err="1">
                <a:latin typeface="+mj-lt"/>
              </a:rPr>
              <a:t>Elixhauser</a:t>
            </a:r>
            <a:r>
              <a:rPr lang="en-US" dirty="0">
                <a:latin typeface="+mj-lt"/>
              </a:rPr>
              <a:t> Comorbidity Index, comorbidity indicators (hypertension, diabetes, coagulopathy, electrolyte imbalance, anemia), and time from diagnosis to chemotherapy initiation </a:t>
            </a:r>
          </a:p>
          <a:p>
            <a:r>
              <a:rPr lang="en-US" dirty="0">
                <a:latin typeface="+mj-lt"/>
              </a:rPr>
              <a:t>We then used boosting (R package </a:t>
            </a:r>
            <a:r>
              <a:rPr lang="en-US" dirty="0" err="1">
                <a:latin typeface="+mj-lt"/>
                <a:cs typeface="Courier New" panose="02070309020205020404" pitchFamily="49" charset="0"/>
              </a:rPr>
              <a:t>xgboost</a:t>
            </a:r>
            <a:r>
              <a:rPr lang="en-US" dirty="0">
                <a:latin typeface="+mj-lt"/>
              </a:rPr>
              <a:t>) with stochastic resampling and feature selection, tuned to maximize 10-fold cross-validated log-likelihood.</a:t>
            </a:r>
            <a:br>
              <a:rPr lang="en-US" dirty="0">
                <a:latin typeface="+mj-lt"/>
              </a:rPr>
            </a:br>
            <a:endParaRPr lang="en-US" dirty="0">
              <a:latin typeface="+mj-lt"/>
            </a:endParaRPr>
          </a:p>
        </p:txBody>
      </p:sp>
    </p:spTree>
    <p:extLst>
      <p:ext uri="{BB962C8B-B14F-4D97-AF65-F5344CB8AC3E}">
        <p14:creationId xmlns:p14="http://schemas.microsoft.com/office/powerpoint/2010/main" val="96945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813D6-DE8F-49E2-B137-11AA428852A1}"/>
              </a:ext>
            </a:extLst>
          </p:cNvPr>
          <p:cNvPicPr>
            <a:picLocks noChangeAspect="1"/>
          </p:cNvPicPr>
          <p:nvPr/>
        </p:nvPicPr>
        <p:blipFill rotWithShape="1">
          <a:blip r:embed="rId2"/>
          <a:srcRect l="-445" t="327" r="-477" b="-328"/>
          <a:stretch/>
        </p:blipFill>
        <p:spPr>
          <a:xfrm>
            <a:off x="4710684" y="719915"/>
            <a:ext cx="7406640" cy="5577838"/>
          </a:xfrm>
          <a:prstGeom prst="rect">
            <a:avLst/>
          </a:prstGeom>
          <a:effectLst/>
        </p:spPr>
      </p:pic>
      <p:sp>
        <p:nvSpPr>
          <p:cNvPr id="2" name="Title 1">
            <a:extLst>
              <a:ext uri="{FF2B5EF4-FFF2-40B4-BE49-F238E27FC236}">
                <a16:creationId xmlns:a16="http://schemas.microsoft.com/office/drawing/2014/main" id="{2C8D9381-FEB3-4AC2-A8A1-2FADF87156AE}"/>
              </a:ext>
            </a:extLst>
          </p:cNvPr>
          <p:cNvSpPr>
            <a:spLocks noGrp="1"/>
          </p:cNvSpPr>
          <p:nvPr>
            <p:ph type="title"/>
          </p:nvPr>
        </p:nvSpPr>
        <p:spPr>
          <a:xfrm>
            <a:off x="648929" y="629266"/>
            <a:ext cx="3667039" cy="1676603"/>
          </a:xfrm>
        </p:spPr>
        <p:txBody>
          <a:bodyPr>
            <a:normAutofit/>
          </a:bodyPr>
          <a:lstStyle/>
          <a:p>
            <a:r>
              <a:rPr lang="en-US" sz="3600" dirty="0"/>
              <a:t>Balance Results</a:t>
            </a:r>
          </a:p>
        </p:txBody>
      </p:sp>
      <p:sp>
        <p:nvSpPr>
          <p:cNvPr id="3" name="Content Placeholder 2">
            <a:extLst>
              <a:ext uri="{FF2B5EF4-FFF2-40B4-BE49-F238E27FC236}">
                <a16:creationId xmlns:a16="http://schemas.microsoft.com/office/drawing/2014/main" id="{019CBDDC-CD9D-453D-B09A-CEA818DBF534}"/>
              </a:ext>
            </a:extLst>
          </p:cNvPr>
          <p:cNvSpPr>
            <a:spLocks noGrp="1"/>
          </p:cNvSpPr>
          <p:nvPr>
            <p:ph idx="1"/>
          </p:nvPr>
        </p:nvSpPr>
        <p:spPr>
          <a:xfrm>
            <a:off x="648931" y="2438401"/>
            <a:ext cx="3667036" cy="3779520"/>
          </a:xfrm>
        </p:spPr>
        <p:txBody>
          <a:bodyPr>
            <a:normAutofit/>
          </a:bodyPr>
          <a:lstStyle/>
          <a:p>
            <a:r>
              <a:rPr lang="en-US" sz="1800"/>
              <a:t>Stabilized inverse propensity-weighted datasets constructed using either logistic regression or xgboost each produced no covariates having an absolute standardized difference greater than 0.2, indicating that both approaches achieved acceptable covariate balance </a:t>
            </a:r>
            <a:br>
              <a:rPr lang="en-US" sz="1800"/>
            </a:br>
            <a:endParaRPr lang="en-US" sz="1800"/>
          </a:p>
        </p:txBody>
      </p:sp>
      <p:sp>
        <p:nvSpPr>
          <p:cNvPr id="7" name="TextBox 6">
            <a:extLst>
              <a:ext uri="{FF2B5EF4-FFF2-40B4-BE49-F238E27FC236}">
                <a16:creationId xmlns:a16="http://schemas.microsoft.com/office/drawing/2014/main" id="{FA9C0968-F4D8-411D-8B2C-A0EF1DFC0B02}"/>
              </a:ext>
            </a:extLst>
          </p:cNvPr>
          <p:cNvSpPr txBox="1"/>
          <p:nvPr/>
        </p:nvSpPr>
        <p:spPr>
          <a:xfrm>
            <a:off x="10742564" y="6596390"/>
            <a:ext cx="1449436" cy="261610"/>
          </a:xfrm>
          <a:prstGeom prst="rect">
            <a:avLst/>
          </a:prstGeom>
          <a:noFill/>
        </p:spPr>
        <p:txBody>
          <a:bodyPr wrap="none" rtlCol="0">
            <a:spAutoFit/>
          </a:bodyPr>
          <a:lstStyle/>
          <a:p>
            <a:r>
              <a:rPr lang="en-US" sz="1100" dirty="0">
                <a:solidFill>
                  <a:schemeClr val="bg1"/>
                </a:solidFill>
              </a:rPr>
              <a:t>© 2018 Dave Vanness</a:t>
            </a:r>
          </a:p>
        </p:txBody>
      </p:sp>
    </p:spTree>
    <p:extLst>
      <p:ext uri="{BB962C8B-B14F-4D97-AF65-F5344CB8AC3E}">
        <p14:creationId xmlns:p14="http://schemas.microsoft.com/office/powerpoint/2010/main" val="267448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B09575-DB19-40EB-96F8-9879A1E2E0F3}"/>
              </a:ext>
            </a:extLst>
          </p:cNvPr>
          <p:cNvPicPr>
            <a:picLocks noChangeAspect="1"/>
          </p:cNvPicPr>
          <p:nvPr/>
        </p:nvPicPr>
        <p:blipFill rotWithShape="1">
          <a:blip r:embed="rId2"/>
          <a:srcRect l="-1930" r="631" b="-2"/>
          <a:stretch/>
        </p:blipFill>
        <p:spPr>
          <a:xfrm>
            <a:off x="4843081" y="640083"/>
            <a:ext cx="7132320" cy="5577838"/>
          </a:xfrm>
          <a:prstGeom prst="rect">
            <a:avLst/>
          </a:prstGeom>
          <a:effectLst/>
        </p:spPr>
      </p:pic>
      <p:sp>
        <p:nvSpPr>
          <p:cNvPr id="2" name="Title 1">
            <a:extLst>
              <a:ext uri="{FF2B5EF4-FFF2-40B4-BE49-F238E27FC236}">
                <a16:creationId xmlns:a16="http://schemas.microsoft.com/office/drawing/2014/main" id="{D0024BAE-126B-4A11-AF87-0D15657E2D47}"/>
              </a:ext>
            </a:extLst>
          </p:cNvPr>
          <p:cNvSpPr>
            <a:spLocks noGrp="1"/>
          </p:cNvSpPr>
          <p:nvPr>
            <p:ph type="title"/>
          </p:nvPr>
        </p:nvSpPr>
        <p:spPr>
          <a:xfrm>
            <a:off x="648929" y="629266"/>
            <a:ext cx="3667039" cy="1676603"/>
          </a:xfrm>
        </p:spPr>
        <p:txBody>
          <a:bodyPr>
            <a:normAutofit/>
          </a:bodyPr>
          <a:lstStyle/>
          <a:p>
            <a:r>
              <a:rPr lang="en-US" sz="3600"/>
              <a:t>Propensity Score Distributions</a:t>
            </a:r>
          </a:p>
        </p:txBody>
      </p:sp>
      <p:sp>
        <p:nvSpPr>
          <p:cNvPr id="3" name="Content Placeholder 2">
            <a:extLst>
              <a:ext uri="{FF2B5EF4-FFF2-40B4-BE49-F238E27FC236}">
                <a16:creationId xmlns:a16="http://schemas.microsoft.com/office/drawing/2014/main" id="{E87A77BE-1469-4E36-80E7-06998D4D11B5}"/>
              </a:ext>
            </a:extLst>
          </p:cNvPr>
          <p:cNvSpPr>
            <a:spLocks noGrp="1"/>
          </p:cNvSpPr>
          <p:nvPr>
            <p:ph idx="1"/>
          </p:nvPr>
        </p:nvSpPr>
        <p:spPr>
          <a:xfrm>
            <a:off x="648931" y="2438401"/>
            <a:ext cx="3667036" cy="3779520"/>
          </a:xfrm>
        </p:spPr>
        <p:txBody>
          <a:bodyPr>
            <a:normAutofit/>
          </a:bodyPr>
          <a:lstStyle/>
          <a:p>
            <a:r>
              <a:rPr lang="en-US" sz="1800" dirty="0"/>
              <a:t>Distribution of propensity scores constructed with both logistic regression and </a:t>
            </a:r>
            <a:r>
              <a:rPr lang="en-US" sz="1800" dirty="0" err="1"/>
              <a:t>xgboost</a:t>
            </a:r>
            <a:r>
              <a:rPr lang="en-US" sz="1800" dirty="0"/>
              <a:t> showed desirable overlap between patients receiving alloHCT and chemotherapy only.</a:t>
            </a:r>
          </a:p>
          <a:p>
            <a:r>
              <a:rPr lang="en-US" sz="1800" dirty="0"/>
              <a:t>Propensity scores constructed with </a:t>
            </a:r>
            <a:r>
              <a:rPr lang="en-US" sz="1800" dirty="0" err="1"/>
              <a:t>xgboost</a:t>
            </a:r>
            <a:r>
              <a:rPr lang="en-US" sz="1800" dirty="0"/>
              <a:t>, however, demonstrated a more favorably pronounced rightward shift (indicating higher likelihood of receiving alloHCT among those who received alloHCT</a:t>
            </a:r>
          </a:p>
        </p:txBody>
      </p:sp>
      <p:sp>
        <p:nvSpPr>
          <p:cNvPr id="5" name="Arrow: Up-Down 4">
            <a:extLst>
              <a:ext uri="{FF2B5EF4-FFF2-40B4-BE49-F238E27FC236}">
                <a16:creationId xmlns:a16="http://schemas.microsoft.com/office/drawing/2014/main" id="{9165FE81-FF36-41E1-93EF-BE71C5C301BD}"/>
              </a:ext>
            </a:extLst>
          </p:cNvPr>
          <p:cNvSpPr/>
          <p:nvPr/>
        </p:nvSpPr>
        <p:spPr>
          <a:xfrm>
            <a:off x="6858000" y="3524250"/>
            <a:ext cx="276225" cy="124301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Up-Down 7">
            <a:extLst>
              <a:ext uri="{FF2B5EF4-FFF2-40B4-BE49-F238E27FC236}">
                <a16:creationId xmlns:a16="http://schemas.microsoft.com/office/drawing/2014/main" id="{E1EF79A5-B78B-44B0-8459-FD65AF10E735}"/>
              </a:ext>
            </a:extLst>
          </p:cNvPr>
          <p:cNvSpPr/>
          <p:nvPr/>
        </p:nvSpPr>
        <p:spPr>
          <a:xfrm rot="5400000">
            <a:off x="8647509" y="4418410"/>
            <a:ext cx="276225" cy="137874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Up-Down 11">
            <a:extLst>
              <a:ext uri="{FF2B5EF4-FFF2-40B4-BE49-F238E27FC236}">
                <a16:creationId xmlns:a16="http://schemas.microsoft.com/office/drawing/2014/main" id="{198DDECB-FDD2-4518-AB5A-3F750419CDEF}"/>
              </a:ext>
            </a:extLst>
          </p:cNvPr>
          <p:cNvSpPr/>
          <p:nvPr/>
        </p:nvSpPr>
        <p:spPr>
          <a:xfrm>
            <a:off x="10467975" y="3524250"/>
            <a:ext cx="276225" cy="124301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ED7E1B8-F767-4094-A2FE-70AD2E9AE6D0}"/>
              </a:ext>
            </a:extLst>
          </p:cNvPr>
          <p:cNvSpPr txBox="1"/>
          <p:nvPr/>
        </p:nvSpPr>
        <p:spPr>
          <a:xfrm>
            <a:off x="10742564" y="6596390"/>
            <a:ext cx="1449436" cy="261610"/>
          </a:xfrm>
          <a:prstGeom prst="rect">
            <a:avLst/>
          </a:prstGeom>
          <a:noFill/>
        </p:spPr>
        <p:txBody>
          <a:bodyPr wrap="none" rtlCol="0">
            <a:spAutoFit/>
          </a:bodyPr>
          <a:lstStyle/>
          <a:p>
            <a:r>
              <a:rPr lang="en-US" sz="1100" dirty="0">
                <a:solidFill>
                  <a:schemeClr val="bg1"/>
                </a:solidFill>
              </a:rPr>
              <a:t>© 2018 Dave Vanness</a:t>
            </a:r>
          </a:p>
        </p:txBody>
      </p:sp>
    </p:spTree>
    <p:extLst>
      <p:ext uri="{BB962C8B-B14F-4D97-AF65-F5344CB8AC3E}">
        <p14:creationId xmlns:p14="http://schemas.microsoft.com/office/powerpoint/2010/main" val="2673184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2E5F0-5763-4674-9789-9EBA0666A0A1}"/>
              </a:ext>
            </a:extLst>
          </p:cNvPr>
          <p:cNvSpPr>
            <a:spLocks noGrp="1"/>
          </p:cNvSpPr>
          <p:nvPr>
            <p:ph type="title"/>
          </p:nvPr>
        </p:nvSpPr>
        <p:spPr>
          <a:xfrm>
            <a:off x="648929" y="629266"/>
            <a:ext cx="3667039" cy="1676603"/>
          </a:xfrm>
        </p:spPr>
        <p:txBody>
          <a:bodyPr>
            <a:normAutofit/>
          </a:bodyPr>
          <a:lstStyle/>
          <a:p>
            <a:r>
              <a:rPr lang="en-US" sz="3600" dirty="0"/>
              <a:t>Distribution of Treatment Selection Errors</a:t>
            </a:r>
          </a:p>
        </p:txBody>
      </p:sp>
      <p:sp>
        <p:nvSpPr>
          <p:cNvPr id="3" name="Content Placeholder 2">
            <a:extLst>
              <a:ext uri="{FF2B5EF4-FFF2-40B4-BE49-F238E27FC236}">
                <a16:creationId xmlns:a16="http://schemas.microsoft.com/office/drawing/2014/main" id="{9C7F4E29-53EE-45C7-8D0C-F02C089B6485}"/>
              </a:ext>
            </a:extLst>
          </p:cNvPr>
          <p:cNvSpPr>
            <a:spLocks noGrp="1"/>
          </p:cNvSpPr>
          <p:nvPr>
            <p:ph idx="1"/>
          </p:nvPr>
        </p:nvSpPr>
        <p:spPr>
          <a:xfrm>
            <a:off x="648931" y="2438401"/>
            <a:ext cx="3667036" cy="3779520"/>
          </a:xfrm>
        </p:spPr>
        <p:txBody>
          <a:bodyPr>
            <a:normAutofit/>
          </a:bodyPr>
          <a:lstStyle/>
          <a:p>
            <a:r>
              <a:rPr lang="en-US" sz="1800"/>
              <a:t>The xgboost algorithm outperformed logistic regression in terms of accurately predicting receipt of alloHCT, which shows both fewer false positives and false negatives. </a:t>
            </a:r>
          </a:p>
        </p:txBody>
      </p:sp>
      <p:pic>
        <p:nvPicPr>
          <p:cNvPr id="6" name="Picture 5">
            <a:extLst>
              <a:ext uri="{FF2B5EF4-FFF2-40B4-BE49-F238E27FC236}">
                <a16:creationId xmlns:a16="http://schemas.microsoft.com/office/drawing/2014/main" id="{0AFA26C8-582E-4F93-B0E3-889BF1A4AB63}"/>
              </a:ext>
            </a:extLst>
          </p:cNvPr>
          <p:cNvPicPr>
            <a:picLocks noChangeAspect="1"/>
          </p:cNvPicPr>
          <p:nvPr/>
        </p:nvPicPr>
        <p:blipFill>
          <a:blip r:embed="rId2"/>
          <a:stretch>
            <a:fillRect/>
          </a:stretch>
        </p:blipFill>
        <p:spPr>
          <a:xfrm>
            <a:off x="4720206" y="1628933"/>
            <a:ext cx="7286057" cy="4489564"/>
          </a:xfrm>
          <a:prstGeom prst="rect">
            <a:avLst/>
          </a:prstGeom>
        </p:spPr>
      </p:pic>
      <p:sp>
        <p:nvSpPr>
          <p:cNvPr id="7" name="TextBox 6">
            <a:extLst>
              <a:ext uri="{FF2B5EF4-FFF2-40B4-BE49-F238E27FC236}">
                <a16:creationId xmlns:a16="http://schemas.microsoft.com/office/drawing/2014/main" id="{7015782F-09C7-495A-82E9-8B5D5CA046CD}"/>
              </a:ext>
            </a:extLst>
          </p:cNvPr>
          <p:cNvSpPr txBox="1"/>
          <p:nvPr/>
        </p:nvSpPr>
        <p:spPr>
          <a:xfrm>
            <a:off x="10742564" y="6596390"/>
            <a:ext cx="1449436" cy="261610"/>
          </a:xfrm>
          <a:prstGeom prst="rect">
            <a:avLst/>
          </a:prstGeom>
          <a:noFill/>
        </p:spPr>
        <p:txBody>
          <a:bodyPr wrap="none" rtlCol="0">
            <a:spAutoFit/>
          </a:bodyPr>
          <a:lstStyle/>
          <a:p>
            <a:r>
              <a:rPr lang="en-US" sz="1100" dirty="0">
                <a:solidFill>
                  <a:schemeClr val="bg1"/>
                </a:solidFill>
              </a:rPr>
              <a:t>© 2018 Dave Vanness</a:t>
            </a:r>
          </a:p>
        </p:txBody>
      </p:sp>
    </p:spTree>
    <p:extLst>
      <p:ext uri="{BB962C8B-B14F-4D97-AF65-F5344CB8AC3E}">
        <p14:creationId xmlns:p14="http://schemas.microsoft.com/office/powerpoint/2010/main" val="22200562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D0430-5974-494D-AB7B-9FE1AD79C162}"/>
              </a:ext>
            </a:extLst>
          </p:cNvPr>
          <p:cNvSpPr>
            <a:spLocks noGrp="1"/>
          </p:cNvSpPr>
          <p:nvPr>
            <p:ph type="title"/>
          </p:nvPr>
        </p:nvSpPr>
        <p:spPr>
          <a:xfrm>
            <a:off x="838200" y="365125"/>
            <a:ext cx="10515600" cy="1325563"/>
          </a:xfrm>
        </p:spPr>
        <p:txBody>
          <a:bodyPr/>
          <a:lstStyle/>
          <a:p>
            <a:r>
              <a:rPr lang="en-US" dirty="0"/>
              <a:t>Recap of Learning Objectives</a:t>
            </a:r>
          </a:p>
        </p:txBody>
      </p:sp>
      <p:grpSp>
        <p:nvGrpSpPr>
          <p:cNvPr id="6" name="Group 5">
            <a:extLst>
              <a:ext uri="{FF2B5EF4-FFF2-40B4-BE49-F238E27FC236}">
                <a16:creationId xmlns:a16="http://schemas.microsoft.com/office/drawing/2014/main" id="{A957B749-0307-4C1B-B761-5D47C761D308}"/>
              </a:ext>
            </a:extLst>
          </p:cNvPr>
          <p:cNvGrpSpPr/>
          <p:nvPr/>
        </p:nvGrpSpPr>
        <p:grpSpPr>
          <a:xfrm>
            <a:off x="1510142" y="1686970"/>
            <a:ext cx="10017224" cy="4788867"/>
            <a:chOff x="2757052" y="1650025"/>
            <a:chExt cx="10017224" cy="4788867"/>
          </a:xfrm>
        </p:grpSpPr>
        <p:sp>
          <p:nvSpPr>
            <p:cNvPr id="7" name="Oval 6">
              <a:extLst>
                <a:ext uri="{FF2B5EF4-FFF2-40B4-BE49-F238E27FC236}">
                  <a16:creationId xmlns:a16="http://schemas.microsoft.com/office/drawing/2014/main" id="{0222603F-48E3-4ADF-BAE0-12D29E9F8050}"/>
                </a:ext>
              </a:extLst>
            </p:cNvPr>
            <p:cNvSpPr/>
            <p:nvPr/>
          </p:nvSpPr>
          <p:spPr>
            <a:xfrm>
              <a:off x="2757052" y="2872288"/>
              <a:ext cx="3102033" cy="3102033"/>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8" name="Oval 7">
              <a:extLst>
                <a:ext uri="{FF2B5EF4-FFF2-40B4-BE49-F238E27FC236}">
                  <a16:creationId xmlns:a16="http://schemas.microsoft.com/office/drawing/2014/main" id="{A09FD117-3EC7-4BCB-B304-19AE40E738C2}"/>
                </a:ext>
              </a:extLst>
            </p:cNvPr>
            <p:cNvSpPr/>
            <p:nvPr/>
          </p:nvSpPr>
          <p:spPr>
            <a:xfrm>
              <a:off x="3101636" y="3216872"/>
              <a:ext cx="2412864" cy="2412864"/>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9" name="Oval 8">
              <a:extLst>
                <a:ext uri="{FF2B5EF4-FFF2-40B4-BE49-F238E27FC236}">
                  <a16:creationId xmlns:a16="http://schemas.microsoft.com/office/drawing/2014/main" id="{E5471771-C88F-49B9-8F98-FC31FC28C59A}"/>
                </a:ext>
              </a:extLst>
            </p:cNvPr>
            <p:cNvSpPr/>
            <p:nvPr/>
          </p:nvSpPr>
          <p:spPr>
            <a:xfrm>
              <a:off x="3446220" y="3561456"/>
              <a:ext cx="1723696" cy="1723696"/>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0" name="Oval 9">
              <a:extLst>
                <a:ext uri="{FF2B5EF4-FFF2-40B4-BE49-F238E27FC236}">
                  <a16:creationId xmlns:a16="http://schemas.microsoft.com/office/drawing/2014/main" id="{9D5427B3-CBEF-40DB-9393-D79EB7689BB9}"/>
                </a:ext>
              </a:extLst>
            </p:cNvPr>
            <p:cNvSpPr/>
            <p:nvPr/>
          </p:nvSpPr>
          <p:spPr>
            <a:xfrm>
              <a:off x="3791062" y="3906299"/>
              <a:ext cx="1034011" cy="1034011"/>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1" name="Oval 10">
              <a:extLst>
                <a:ext uri="{FF2B5EF4-FFF2-40B4-BE49-F238E27FC236}">
                  <a16:creationId xmlns:a16="http://schemas.microsoft.com/office/drawing/2014/main" id="{7262AA2B-4DE1-4883-92C3-577E23FFD298}"/>
                </a:ext>
              </a:extLst>
            </p:cNvPr>
            <p:cNvSpPr/>
            <p:nvPr/>
          </p:nvSpPr>
          <p:spPr>
            <a:xfrm>
              <a:off x="4135647" y="4250883"/>
              <a:ext cx="344842" cy="344842"/>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2" name="Freeform: Shape 11">
              <a:extLst>
                <a:ext uri="{FF2B5EF4-FFF2-40B4-BE49-F238E27FC236}">
                  <a16:creationId xmlns:a16="http://schemas.microsoft.com/office/drawing/2014/main" id="{59F46181-6CC1-4F08-8D75-AEC9B577EB9D}"/>
                </a:ext>
              </a:extLst>
            </p:cNvPr>
            <p:cNvSpPr/>
            <p:nvPr/>
          </p:nvSpPr>
          <p:spPr>
            <a:xfrm>
              <a:off x="5699916" y="1650025"/>
              <a:ext cx="5829765" cy="783713"/>
            </a:xfrm>
            <a:custGeom>
              <a:avLst/>
              <a:gdLst>
                <a:gd name="connsiteX0" fmla="*/ 0 w 1551016"/>
                <a:gd name="connsiteY0" fmla="*/ 0 h 547612"/>
                <a:gd name="connsiteX1" fmla="*/ 1551016 w 1551016"/>
                <a:gd name="connsiteY1" fmla="*/ 0 h 547612"/>
                <a:gd name="connsiteX2" fmla="*/ 1551016 w 1551016"/>
                <a:gd name="connsiteY2" fmla="*/ 547612 h 547612"/>
                <a:gd name="connsiteX3" fmla="*/ 0 w 1551016"/>
                <a:gd name="connsiteY3" fmla="*/ 547612 h 547612"/>
                <a:gd name="connsiteX4" fmla="*/ 0 w 1551016"/>
                <a:gd name="connsiteY4" fmla="*/ 0 h 54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016" h="547612">
                  <a:moveTo>
                    <a:pt x="0" y="0"/>
                  </a:moveTo>
                  <a:lnTo>
                    <a:pt x="1551016" y="0"/>
                  </a:lnTo>
                  <a:lnTo>
                    <a:pt x="1551016" y="547612"/>
                  </a:lnTo>
                  <a:lnTo>
                    <a:pt x="0" y="54761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784" tIns="8890" rIns="8890" bIns="8890" numCol="1" spcCol="1270" anchor="t" anchorCtr="0">
              <a:noAutofit/>
            </a:bodyPr>
            <a:lstStyle/>
            <a:p>
              <a:pPr marL="0" lvl="0" indent="0" algn="l" defTabSz="311150">
                <a:lnSpc>
                  <a:spcPct val="90000"/>
                </a:lnSpc>
                <a:spcBef>
                  <a:spcPct val="0"/>
                </a:spcBef>
                <a:spcAft>
                  <a:spcPct val="35000"/>
                </a:spcAft>
                <a:buNone/>
              </a:pPr>
              <a:r>
                <a:rPr lang="en-US" kern="1200" dirty="0">
                  <a:solidFill>
                    <a:schemeClr val="accent2">
                      <a:lumMod val="75000"/>
                    </a:schemeClr>
                  </a:solidFill>
                </a:rPr>
                <a:t>The Iron Law of Prediction </a:t>
              </a:r>
            </a:p>
            <a:p>
              <a:pPr marL="0" lvl="1" algn="l" defTabSz="266700">
                <a:lnSpc>
                  <a:spcPct val="90000"/>
                </a:lnSpc>
                <a:spcBef>
                  <a:spcPct val="0"/>
                </a:spcBef>
                <a:spcAft>
                  <a:spcPct val="15000"/>
                </a:spcAft>
              </a:pPr>
              <a:r>
                <a:rPr lang="en-US" sz="1400" kern="1200" dirty="0"/>
                <a:t>Excessively complex models may give better fit to the data at hand but worse predictions for outcomes not yet observed.</a:t>
              </a:r>
            </a:p>
          </p:txBody>
        </p:sp>
        <p:sp>
          <p:nvSpPr>
            <p:cNvPr id="13" name="Straight Connector 12">
              <a:extLst>
                <a:ext uri="{FF2B5EF4-FFF2-40B4-BE49-F238E27FC236}">
                  <a16:creationId xmlns:a16="http://schemas.microsoft.com/office/drawing/2014/main" id="{0EB3159A-FC22-4392-B837-AD1C1A647662}"/>
                </a:ext>
              </a:extLst>
            </p:cNvPr>
            <p:cNvSpPr/>
            <p:nvPr/>
          </p:nvSpPr>
          <p:spPr>
            <a:xfrm>
              <a:off x="5320623" y="1776917"/>
              <a:ext cx="387754" cy="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4" name="Straight Connector 13">
              <a:extLst>
                <a:ext uri="{FF2B5EF4-FFF2-40B4-BE49-F238E27FC236}">
                  <a16:creationId xmlns:a16="http://schemas.microsoft.com/office/drawing/2014/main" id="{3BB67296-7DFA-42DD-BC3B-E3CED7762F00}"/>
                </a:ext>
              </a:extLst>
            </p:cNvPr>
            <p:cNvSpPr/>
            <p:nvPr/>
          </p:nvSpPr>
          <p:spPr>
            <a:xfrm rot="5400000">
              <a:off x="3488951" y="2596032"/>
              <a:ext cx="2646390" cy="100816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5" name="Freeform: Shape 14">
              <a:extLst>
                <a:ext uri="{FF2B5EF4-FFF2-40B4-BE49-F238E27FC236}">
                  <a16:creationId xmlns:a16="http://schemas.microsoft.com/office/drawing/2014/main" id="{F3CD6625-8FA8-406D-82C8-FF9B5BE3E957}"/>
                </a:ext>
              </a:extLst>
            </p:cNvPr>
            <p:cNvSpPr/>
            <p:nvPr/>
          </p:nvSpPr>
          <p:spPr>
            <a:xfrm>
              <a:off x="6050123" y="2488818"/>
              <a:ext cx="5829764" cy="803881"/>
            </a:xfrm>
            <a:custGeom>
              <a:avLst/>
              <a:gdLst>
                <a:gd name="connsiteX0" fmla="*/ 0 w 1551016"/>
                <a:gd name="connsiteY0" fmla="*/ 0 h 547612"/>
                <a:gd name="connsiteX1" fmla="*/ 1551016 w 1551016"/>
                <a:gd name="connsiteY1" fmla="*/ 0 h 547612"/>
                <a:gd name="connsiteX2" fmla="*/ 1551016 w 1551016"/>
                <a:gd name="connsiteY2" fmla="*/ 547612 h 547612"/>
                <a:gd name="connsiteX3" fmla="*/ 0 w 1551016"/>
                <a:gd name="connsiteY3" fmla="*/ 547612 h 547612"/>
                <a:gd name="connsiteX4" fmla="*/ 0 w 1551016"/>
                <a:gd name="connsiteY4" fmla="*/ 0 h 54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016" h="547612">
                  <a:moveTo>
                    <a:pt x="0" y="0"/>
                  </a:moveTo>
                  <a:lnTo>
                    <a:pt x="1551016" y="0"/>
                  </a:lnTo>
                  <a:lnTo>
                    <a:pt x="1551016" y="547612"/>
                  </a:lnTo>
                  <a:lnTo>
                    <a:pt x="0" y="54761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784" tIns="8890" rIns="8890" bIns="8890" numCol="1" spcCol="1270" anchor="t" anchorCtr="0">
              <a:noAutofit/>
            </a:bodyPr>
            <a:lstStyle/>
            <a:p>
              <a:pPr marL="0" lvl="0" indent="0" algn="l" defTabSz="311150">
                <a:lnSpc>
                  <a:spcPct val="90000"/>
                </a:lnSpc>
                <a:spcBef>
                  <a:spcPct val="0"/>
                </a:spcBef>
                <a:spcAft>
                  <a:spcPct val="35000"/>
                </a:spcAft>
                <a:buNone/>
              </a:pPr>
              <a:r>
                <a:rPr lang="en-US" kern="1200" dirty="0">
                  <a:solidFill>
                    <a:srgbClr val="C00000"/>
                  </a:solidFill>
                </a:rPr>
                <a:t>Penalization</a:t>
              </a:r>
            </a:p>
            <a:p>
              <a:pPr marL="0" lvl="1" algn="l" defTabSz="222250">
                <a:lnSpc>
                  <a:spcPct val="90000"/>
                </a:lnSpc>
                <a:spcBef>
                  <a:spcPct val="0"/>
                </a:spcBef>
                <a:spcAft>
                  <a:spcPct val="15000"/>
                </a:spcAft>
              </a:pPr>
              <a:r>
                <a:rPr lang="en-US" sz="1400" kern="1200" dirty="0"/>
                <a:t>Penalizing complexity can lead to models that are “right sized” for the most accurate predictions.</a:t>
              </a:r>
            </a:p>
          </p:txBody>
        </p:sp>
        <p:sp>
          <p:nvSpPr>
            <p:cNvPr id="16" name="Straight Connector 15">
              <a:extLst>
                <a:ext uri="{FF2B5EF4-FFF2-40B4-BE49-F238E27FC236}">
                  <a16:creationId xmlns:a16="http://schemas.microsoft.com/office/drawing/2014/main" id="{0F792F7D-9415-43E2-B015-BADB8679C052}"/>
                </a:ext>
              </a:extLst>
            </p:cNvPr>
            <p:cNvSpPr/>
            <p:nvPr/>
          </p:nvSpPr>
          <p:spPr>
            <a:xfrm>
              <a:off x="5681300" y="2623329"/>
              <a:ext cx="387754" cy="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7" name="Straight Connector 16">
              <a:extLst>
                <a:ext uri="{FF2B5EF4-FFF2-40B4-BE49-F238E27FC236}">
                  <a16:creationId xmlns:a16="http://schemas.microsoft.com/office/drawing/2014/main" id="{82906A8B-FF15-4E36-8BEE-DEEF9E38FEDC}"/>
                </a:ext>
              </a:extLst>
            </p:cNvPr>
            <p:cNvSpPr/>
            <p:nvPr/>
          </p:nvSpPr>
          <p:spPr>
            <a:xfrm rot="5400000">
              <a:off x="4100040" y="3074003"/>
              <a:ext cx="2035731" cy="1134381"/>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Shape 17">
              <a:extLst>
                <a:ext uri="{FF2B5EF4-FFF2-40B4-BE49-F238E27FC236}">
                  <a16:creationId xmlns:a16="http://schemas.microsoft.com/office/drawing/2014/main" id="{57EFF472-5713-4968-AC5C-2FA39C6374A7}"/>
                </a:ext>
              </a:extLst>
            </p:cNvPr>
            <p:cNvSpPr/>
            <p:nvPr/>
          </p:nvSpPr>
          <p:spPr>
            <a:xfrm>
              <a:off x="6491659" y="3305455"/>
              <a:ext cx="5358258" cy="547612"/>
            </a:xfrm>
            <a:custGeom>
              <a:avLst/>
              <a:gdLst>
                <a:gd name="connsiteX0" fmla="*/ 0 w 1551016"/>
                <a:gd name="connsiteY0" fmla="*/ 0 h 547612"/>
                <a:gd name="connsiteX1" fmla="*/ 1551016 w 1551016"/>
                <a:gd name="connsiteY1" fmla="*/ 0 h 547612"/>
                <a:gd name="connsiteX2" fmla="*/ 1551016 w 1551016"/>
                <a:gd name="connsiteY2" fmla="*/ 547612 h 547612"/>
                <a:gd name="connsiteX3" fmla="*/ 0 w 1551016"/>
                <a:gd name="connsiteY3" fmla="*/ 547612 h 547612"/>
                <a:gd name="connsiteX4" fmla="*/ 0 w 1551016"/>
                <a:gd name="connsiteY4" fmla="*/ 0 h 54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016" h="547612">
                  <a:moveTo>
                    <a:pt x="0" y="0"/>
                  </a:moveTo>
                  <a:lnTo>
                    <a:pt x="1551016" y="0"/>
                  </a:lnTo>
                  <a:lnTo>
                    <a:pt x="1551016" y="547612"/>
                  </a:lnTo>
                  <a:lnTo>
                    <a:pt x="0" y="54761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784" tIns="8890" rIns="8890" bIns="8890" numCol="1" spcCol="1270" anchor="t" anchorCtr="0">
              <a:noAutofit/>
            </a:bodyPr>
            <a:lstStyle/>
            <a:p>
              <a:pPr marL="0" lvl="0" indent="0" algn="l" defTabSz="311150">
                <a:lnSpc>
                  <a:spcPct val="90000"/>
                </a:lnSpc>
                <a:spcBef>
                  <a:spcPct val="0"/>
                </a:spcBef>
                <a:spcAft>
                  <a:spcPct val="35000"/>
                </a:spcAft>
                <a:buNone/>
              </a:pPr>
              <a:r>
                <a:rPr lang="en-US" kern="1200" dirty="0">
                  <a:solidFill>
                    <a:schemeClr val="accent1">
                      <a:lumMod val="60000"/>
                      <a:lumOff val="40000"/>
                    </a:schemeClr>
                  </a:solidFill>
                </a:rPr>
                <a:t>Cross-validation</a:t>
              </a:r>
            </a:p>
            <a:p>
              <a:pPr marL="0" lvl="1" algn="l" defTabSz="222250">
                <a:lnSpc>
                  <a:spcPct val="90000"/>
                </a:lnSpc>
                <a:spcBef>
                  <a:spcPct val="0"/>
                </a:spcBef>
                <a:spcAft>
                  <a:spcPct val="15000"/>
                </a:spcAft>
              </a:pPr>
              <a:r>
                <a:rPr lang="en-US" sz="1400" kern="1200" dirty="0"/>
                <a:t>Creating hold-out subsamples can simulate the Iron Law of Prediction using available data</a:t>
              </a:r>
            </a:p>
          </p:txBody>
        </p:sp>
        <p:sp>
          <p:nvSpPr>
            <p:cNvPr id="19" name="Straight Connector 18">
              <a:extLst>
                <a:ext uri="{FF2B5EF4-FFF2-40B4-BE49-F238E27FC236}">
                  <a16:creationId xmlns:a16="http://schemas.microsoft.com/office/drawing/2014/main" id="{E36CD7B2-A5EE-4B83-AD43-E5F61C1E9561}"/>
                </a:ext>
              </a:extLst>
            </p:cNvPr>
            <p:cNvSpPr/>
            <p:nvPr/>
          </p:nvSpPr>
          <p:spPr>
            <a:xfrm>
              <a:off x="6125503" y="3437624"/>
              <a:ext cx="387754" cy="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0" name="Straight Connector 19">
              <a:extLst>
                <a:ext uri="{FF2B5EF4-FFF2-40B4-BE49-F238E27FC236}">
                  <a16:creationId xmlns:a16="http://schemas.microsoft.com/office/drawing/2014/main" id="{C77291F1-6E52-4227-8607-1E0716572321}"/>
                </a:ext>
              </a:extLst>
            </p:cNvPr>
            <p:cNvSpPr/>
            <p:nvPr/>
          </p:nvSpPr>
          <p:spPr>
            <a:xfrm rot="5400000">
              <a:off x="4740514" y="3489046"/>
              <a:ext cx="1442762" cy="1335684"/>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Shape 20">
              <a:extLst>
                <a:ext uri="{FF2B5EF4-FFF2-40B4-BE49-F238E27FC236}">
                  <a16:creationId xmlns:a16="http://schemas.microsoft.com/office/drawing/2014/main" id="{6C5A4655-FDA3-4772-B038-299019C9379A}"/>
                </a:ext>
              </a:extLst>
            </p:cNvPr>
            <p:cNvSpPr/>
            <p:nvPr/>
          </p:nvSpPr>
          <p:spPr>
            <a:xfrm>
              <a:off x="6688087" y="4106303"/>
              <a:ext cx="5161830" cy="752747"/>
            </a:xfrm>
            <a:custGeom>
              <a:avLst/>
              <a:gdLst>
                <a:gd name="connsiteX0" fmla="*/ 0 w 1551016"/>
                <a:gd name="connsiteY0" fmla="*/ 0 h 547612"/>
                <a:gd name="connsiteX1" fmla="*/ 1551016 w 1551016"/>
                <a:gd name="connsiteY1" fmla="*/ 0 h 547612"/>
                <a:gd name="connsiteX2" fmla="*/ 1551016 w 1551016"/>
                <a:gd name="connsiteY2" fmla="*/ 547612 h 547612"/>
                <a:gd name="connsiteX3" fmla="*/ 0 w 1551016"/>
                <a:gd name="connsiteY3" fmla="*/ 547612 h 547612"/>
                <a:gd name="connsiteX4" fmla="*/ 0 w 1551016"/>
                <a:gd name="connsiteY4" fmla="*/ 0 h 547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016" h="547612">
                  <a:moveTo>
                    <a:pt x="0" y="0"/>
                  </a:moveTo>
                  <a:lnTo>
                    <a:pt x="1551016" y="0"/>
                  </a:lnTo>
                  <a:lnTo>
                    <a:pt x="1551016" y="547612"/>
                  </a:lnTo>
                  <a:lnTo>
                    <a:pt x="0" y="54761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784" tIns="8890" rIns="8890" bIns="8890" numCol="1" spcCol="1270" anchor="t" anchorCtr="0">
              <a:noAutofit/>
            </a:bodyPr>
            <a:lstStyle/>
            <a:p>
              <a:pPr marL="0" lvl="0" indent="0" algn="l" defTabSz="311150">
                <a:lnSpc>
                  <a:spcPct val="90000"/>
                </a:lnSpc>
                <a:spcBef>
                  <a:spcPct val="0"/>
                </a:spcBef>
                <a:spcAft>
                  <a:spcPct val="35000"/>
                </a:spcAft>
                <a:buNone/>
              </a:pPr>
              <a:r>
                <a:rPr lang="en-US" kern="1200" dirty="0">
                  <a:solidFill>
                    <a:schemeClr val="accent4">
                      <a:lumMod val="60000"/>
                      <a:lumOff val="40000"/>
                    </a:schemeClr>
                  </a:solidFill>
                </a:rPr>
                <a:t>Parameter Tuning</a:t>
              </a:r>
            </a:p>
            <a:p>
              <a:pPr marL="0" lvl="1" algn="l" defTabSz="222250">
                <a:lnSpc>
                  <a:spcPct val="90000"/>
                </a:lnSpc>
                <a:spcBef>
                  <a:spcPct val="0"/>
                </a:spcBef>
                <a:spcAft>
                  <a:spcPct val="15000"/>
                </a:spcAft>
              </a:pPr>
              <a:r>
                <a:rPr lang="en-US" sz="1400" kern="1200" dirty="0"/>
                <a:t>Choosing parameters of our ML algorithms to minimize cross-validation error, not to maximize fit to the observed data</a:t>
              </a:r>
            </a:p>
          </p:txBody>
        </p:sp>
        <p:sp>
          <p:nvSpPr>
            <p:cNvPr id="22" name="Straight Connector 21">
              <a:extLst>
                <a:ext uri="{FF2B5EF4-FFF2-40B4-BE49-F238E27FC236}">
                  <a16:creationId xmlns:a16="http://schemas.microsoft.com/office/drawing/2014/main" id="{40706998-B172-44DF-884D-EE9DC234E73D}"/>
                </a:ext>
              </a:extLst>
            </p:cNvPr>
            <p:cNvSpPr/>
            <p:nvPr/>
          </p:nvSpPr>
          <p:spPr>
            <a:xfrm>
              <a:off x="6319380" y="4221798"/>
              <a:ext cx="387754" cy="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22">
              <a:extLst>
                <a:ext uri="{FF2B5EF4-FFF2-40B4-BE49-F238E27FC236}">
                  <a16:creationId xmlns:a16="http://schemas.microsoft.com/office/drawing/2014/main" id="{21E5F6B1-E510-4F17-B987-8D6DB5E92CA2}"/>
                </a:ext>
              </a:extLst>
            </p:cNvPr>
            <p:cNvSpPr/>
            <p:nvPr/>
          </p:nvSpPr>
          <p:spPr>
            <a:xfrm rot="5400000">
              <a:off x="5238732" y="4045961"/>
              <a:ext cx="904634" cy="1256308"/>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4" name="Freeform: Shape 23">
              <a:extLst>
                <a:ext uri="{FF2B5EF4-FFF2-40B4-BE49-F238E27FC236}">
                  <a16:creationId xmlns:a16="http://schemas.microsoft.com/office/drawing/2014/main" id="{8665F608-CD02-4247-9AFA-9F41D5B5672E}"/>
                </a:ext>
              </a:extLst>
            </p:cNvPr>
            <p:cNvSpPr/>
            <p:nvPr/>
          </p:nvSpPr>
          <p:spPr>
            <a:xfrm>
              <a:off x="6841738" y="4956762"/>
              <a:ext cx="5932538" cy="1482130"/>
            </a:xfrm>
            <a:custGeom>
              <a:avLst/>
              <a:gdLst>
                <a:gd name="connsiteX0" fmla="*/ 0 w 1929712"/>
                <a:gd name="connsiteY0" fmla="*/ 0 h 784536"/>
                <a:gd name="connsiteX1" fmla="*/ 1929712 w 1929712"/>
                <a:gd name="connsiteY1" fmla="*/ 0 h 784536"/>
                <a:gd name="connsiteX2" fmla="*/ 1929712 w 1929712"/>
                <a:gd name="connsiteY2" fmla="*/ 784536 h 784536"/>
                <a:gd name="connsiteX3" fmla="*/ 0 w 1929712"/>
                <a:gd name="connsiteY3" fmla="*/ 784536 h 784536"/>
                <a:gd name="connsiteX4" fmla="*/ 0 w 1929712"/>
                <a:gd name="connsiteY4" fmla="*/ 0 h 784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712" h="784536">
                  <a:moveTo>
                    <a:pt x="0" y="0"/>
                  </a:moveTo>
                  <a:lnTo>
                    <a:pt x="1929712" y="0"/>
                  </a:lnTo>
                  <a:lnTo>
                    <a:pt x="1929712" y="784536"/>
                  </a:lnTo>
                  <a:lnTo>
                    <a:pt x="0" y="78453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784" tIns="8890" rIns="8890" bIns="8890" numCol="1" spcCol="1270" anchor="t" anchorCtr="0">
              <a:noAutofit/>
            </a:bodyPr>
            <a:lstStyle/>
            <a:p>
              <a:pPr marL="0" lvl="0" indent="0" algn="l" defTabSz="311150">
                <a:lnSpc>
                  <a:spcPct val="90000"/>
                </a:lnSpc>
                <a:spcBef>
                  <a:spcPct val="0"/>
                </a:spcBef>
                <a:spcAft>
                  <a:spcPct val="35000"/>
                </a:spcAft>
                <a:buNone/>
              </a:pPr>
              <a:r>
                <a:rPr lang="en-US" kern="1200" dirty="0">
                  <a:solidFill>
                    <a:schemeClr val="accent6">
                      <a:lumMod val="60000"/>
                      <a:lumOff val="40000"/>
                    </a:schemeClr>
                  </a:solidFill>
                </a:rPr>
                <a:t>Ensembles of Weak Learners</a:t>
              </a:r>
            </a:p>
            <a:p>
              <a:pPr marL="171450" lvl="1" indent="-171450" algn="l" defTabSz="222250">
                <a:lnSpc>
                  <a:spcPct val="90000"/>
                </a:lnSpc>
                <a:spcBef>
                  <a:spcPct val="0"/>
                </a:spcBef>
                <a:spcAft>
                  <a:spcPct val="15000"/>
                </a:spcAft>
                <a:buFont typeface="Arial" panose="020B0604020202020204" pitchFamily="34" charset="0"/>
                <a:buChar char="•"/>
              </a:pPr>
              <a:r>
                <a:rPr lang="en-US" sz="1400" kern="1200" dirty="0"/>
                <a:t>Bagging: randomly resampling the data and aggregating multiple models</a:t>
              </a:r>
            </a:p>
            <a:p>
              <a:pPr marL="171450" lvl="1" indent="-171450" algn="l" defTabSz="222250">
                <a:lnSpc>
                  <a:spcPct val="90000"/>
                </a:lnSpc>
                <a:spcBef>
                  <a:spcPct val="0"/>
                </a:spcBef>
                <a:spcAft>
                  <a:spcPct val="15000"/>
                </a:spcAft>
                <a:buFont typeface="Arial" panose="020B0604020202020204" pitchFamily="34" charset="0"/>
                <a:buChar char="•"/>
              </a:pPr>
              <a:r>
                <a:rPr lang="en-US" sz="1400" kern="1200" dirty="0"/>
                <a:t>Random feature selection: choosing the best predictor from a random subset (less greedy)</a:t>
              </a:r>
            </a:p>
            <a:p>
              <a:pPr marL="171450" lvl="1" indent="-171450" algn="l" defTabSz="222250">
                <a:lnSpc>
                  <a:spcPct val="90000"/>
                </a:lnSpc>
                <a:spcBef>
                  <a:spcPct val="0"/>
                </a:spcBef>
                <a:spcAft>
                  <a:spcPct val="15000"/>
                </a:spcAft>
                <a:buFont typeface="Arial" panose="020B0604020202020204" pitchFamily="34" charset="0"/>
                <a:buChar char="•"/>
              </a:pPr>
              <a:r>
                <a:rPr lang="en-US" sz="1400" kern="1200" dirty="0"/>
                <a:t>Boosting: fitting a sequence of models on the errors of the previous generation</a:t>
              </a:r>
            </a:p>
          </p:txBody>
        </p:sp>
        <p:sp>
          <p:nvSpPr>
            <p:cNvPr id="25" name="Straight Connector 24">
              <a:extLst>
                <a:ext uri="{FF2B5EF4-FFF2-40B4-BE49-F238E27FC236}">
                  <a16:creationId xmlns:a16="http://schemas.microsoft.com/office/drawing/2014/main" id="{ECBCBA31-C738-42ED-A6E4-EB48032B77F9}"/>
                </a:ext>
              </a:extLst>
            </p:cNvPr>
            <p:cNvSpPr/>
            <p:nvPr/>
          </p:nvSpPr>
          <p:spPr>
            <a:xfrm flipV="1">
              <a:off x="6445442" y="5084102"/>
              <a:ext cx="427227" cy="0"/>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6" name="Straight Connector 25">
              <a:extLst>
                <a:ext uri="{FF2B5EF4-FFF2-40B4-BE49-F238E27FC236}">
                  <a16:creationId xmlns:a16="http://schemas.microsoft.com/office/drawing/2014/main" id="{D7673803-8E6B-4AE2-A5D1-BEB00C6DB2F3}"/>
                </a:ext>
              </a:extLst>
            </p:cNvPr>
            <p:cNvSpPr/>
            <p:nvPr/>
          </p:nvSpPr>
          <p:spPr>
            <a:xfrm rot="5400000">
              <a:off x="5735361" y="4664514"/>
              <a:ext cx="290945" cy="1129215"/>
            </a:xfrm>
            <a:prstGeom prst="line">
              <a:avLst/>
            </a:prstGeom>
            <a:sp3d z="127000" prstMaterial="matte"/>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Tree>
    <p:extLst>
      <p:ext uri="{BB962C8B-B14F-4D97-AF65-F5344CB8AC3E}">
        <p14:creationId xmlns:p14="http://schemas.microsoft.com/office/powerpoint/2010/main" val="9461555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674E5-2CDC-4634-A64B-B6C088497F1A}"/>
              </a:ext>
            </a:extLst>
          </p:cNvPr>
          <p:cNvSpPr>
            <a:spLocks noGrp="1"/>
          </p:cNvSpPr>
          <p:nvPr>
            <p:ph type="title"/>
          </p:nvPr>
        </p:nvSpPr>
        <p:spPr/>
        <p:txBody>
          <a:bodyPr/>
          <a:lstStyle/>
          <a:p>
            <a:r>
              <a:rPr lang="en-US" dirty="0"/>
              <a:t>References / Readings</a:t>
            </a:r>
          </a:p>
        </p:txBody>
      </p:sp>
      <p:sp>
        <p:nvSpPr>
          <p:cNvPr id="3" name="Content Placeholder 2">
            <a:extLst>
              <a:ext uri="{FF2B5EF4-FFF2-40B4-BE49-F238E27FC236}">
                <a16:creationId xmlns:a16="http://schemas.microsoft.com/office/drawing/2014/main" id="{D332D041-F00B-482F-97A3-BB58FA73C1C2}"/>
              </a:ext>
            </a:extLst>
          </p:cNvPr>
          <p:cNvSpPr>
            <a:spLocks noGrp="1"/>
          </p:cNvSpPr>
          <p:nvPr>
            <p:ph idx="1"/>
          </p:nvPr>
        </p:nvSpPr>
        <p:spPr/>
        <p:txBody>
          <a:bodyPr>
            <a:normAutofit fontScale="40000" lnSpcReduction="20000"/>
          </a:bodyPr>
          <a:lstStyle/>
          <a:p>
            <a:r>
              <a:rPr lang="en-US" dirty="0" err="1"/>
              <a:t>Doupe</a:t>
            </a:r>
            <a:r>
              <a:rPr lang="en-US" dirty="0"/>
              <a:t> P, </a:t>
            </a:r>
            <a:r>
              <a:rPr lang="en-US" dirty="0" err="1"/>
              <a:t>Faghmous</a:t>
            </a:r>
            <a:r>
              <a:rPr lang="en-US" dirty="0"/>
              <a:t> J, Basu S. Machine Learning for Health Services Researchers. Value in Health. 2019; 22(7):808–815</a:t>
            </a:r>
          </a:p>
          <a:p>
            <a:r>
              <a:rPr lang="en-US" dirty="0" err="1"/>
              <a:t>Shmueli</a:t>
            </a:r>
            <a:r>
              <a:rPr lang="en-US" dirty="0"/>
              <a:t> G. To explain or to predict?. Statistical science. 2010;25(3):289-310.</a:t>
            </a:r>
          </a:p>
          <a:p>
            <a:r>
              <a:rPr lang="en-US" dirty="0"/>
              <a:t>Jordan MI, Mitchell TM. Machine learning: Trends, perspectives, and prospects. Science. 2015 Jul 17;349(6245):255-60.</a:t>
            </a:r>
          </a:p>
          <a:p>
            <a:r>
              <a:rPr lang="en-US" dirty="0"/>
              <a:t>Friedman J, Hastie T, </a:t>
            </a:r>
            <a:r>
              <a:rPr lang="en-US" dirty="0" err="1"/>
              <a:t>Tibshirani</a:t>
            </a:r>
            <a:r>
              <a:rPr lang="en-US" dirty="0"/>
              <a:t> R. The elements of statistical learning. New York: Springer series in statistics; 2001.</a:t>
            </a:r>
          </a:p>
          <a:p>
            <a:r>
              <a:rPr lang="en-US" dirty="0" err="1"/>
              <a:t>Tibshirani</a:t>
            </a:r>
            <a:r>
              <a:rPr lang="en-US" dirty="0"/>
              <a:t> R. Regression shrinkage and selection via the lasso: a retrospective. Journal of the Royal Statistical Society: Series B (Statistical Methodology). 2011 Jun 1;73(3):273-82.</a:t>
            </a:r>
          </a:p>
          <a:p>
            <a:r>
              <a:rPr lang="en-US" dirty="0"/>
              <a:t>Zhang H, Singer BH. Recursive partitioning in the health sciences. Springer Science &amp; Business Media; 2013 Mar 14.</a:t>
            </a:r>
          </a:p>
          <a:p>
            <a:r>
              <a:rPr lang="en-US" dirty="0"/>
              <a:t>Strobl C, Malley J, </a:t>
            </a:r>
            <a:r>
              <a:rPr lang="en-US" dirty="0" err="1"/>
              <a:t>Tutz</a:t>
            </a:r>
            <a:r>
              <a:rPr lang="en-US" dirty="0"/>
              <a:t> G. An introduction to recursive partitioning: rationale, application, and characteristics of classification and regression trees, bagging, and random forests. Psychological methods. 2009 Dec;14(4):323.</a:t>
            </a:r>
          </a:p>
          <a:p>
            <a:r>
              <a:rPr lang="en-US" dirty="0" err="1"/>
              <a:t>Breiman</a:t>
            </a:r>
            <a:r>
              <a:rPr lang="en-US" dirty="0"/>
              <a:t> L. Random forests. Machine learning. 2001 Oct 1;45(1):5-32.</a:t>
            </a:r>
          </a:p>
          <a:p>
            <a:r>
              <a:rPr lang="en-US" dirty="0"/>
              <a:t>Friedman JH. Stochastic gradient boosting. Computational statistics &amp; data analysis. 2002 Feb 28;38(4):367-78.</a:t>
            </a:r>
            <a:endParaRPr lang="en-US" b="1" dirty="0"/>
          </a:p>
          <a:p>
            <a:r>
              <a:rPr lang="en-US" dirty="0"/>
              <a:t>Adam NR, </a:t>
            </a:r>
            <a:r>
              <a:rPr lang="en-US" dirty="0" err="1"/>
              <a:t>Wieder</a:t>
            </a:r>
            <a:r>
              <a:rPr lang="en-US" dirty="0"/>
              <a:t> R, Ghosh D. Data science, learning, and applications to biomedical and health sciences. Annals of the New York Academy of Sciences. 2017 Jan 1;1387(1):5–11.</a:t>
            </a:r>
          </a:p>
          <a:p>
            <a:r>
              <a:rPr lang="en-US" dirty="0"/>
              <a:t>Rose S. Robust Machine Learning Variable Importance Analyses of Medical Conditions for Health Care Spending. Health Services Research [Internet]. [cited 2018 Sep 21];0(0). Available from: https://onlinelibrary.wiley.com/doi/abs/10.1111/1475-6773.12848</a:t>
            </a:r>
          </a:p>
          <a:p>
            <a:r>
              <a:rPr lang="en-US" dirty="0"/>
              <a:t>Rose S, Bergquist SL, Layton TJ. Computational health economics for identification of unprofitable health care enrollees. Biostatistics. 2017 Oct 1;18(4):682–94. </a:t>
            </a:r>
          </a:p>
          <a:p>
            <a:r>
              <a:rPr lang="en-US" dirty="0"/>
              <a:t>Lee Brian K., </a:t>
            </a:r>
            <a:r>
              <a:rPr lang="en-US" dirty="0" err="1"/>
              <a:t>Lessler</a:t>
            </a:r>
            <a:r>
              <a:rPr lang="en-US" dirty="0"/>
              <a:t> Justin, Stuart Elizabeth A. Improving propensity score weighting using machine learning. Statistics in Medicine. 2009 Dec 3;29(3):337–46.</a:t>
            </a:r>
          </a:p>
          <a:p>
            <a:r>
              <a:rPr lang="en-US" dirty="0" err="1"/>
              <a:t>Pirracchio</a:t>
            </a:r>
            <a:r>
              <a:rPr lang="en-US" dirty="0"/>
              <a:t> R, Petersen ML, van der </a:t>
            </a:r>
            <a:r>
              <a:rPr lang="en-US" dirty="0" err="1"/>
              <a:t>Laan</a:t>
            </a:r>
            <a:r>
              <a:rPr lang="en-US" dirty="0"/>
              <a:t> M. Improving Propensity Score Estimators’ Robustness to Model Misspecification Using Super Learner. Am J Epidemiol. 2015 Jan 15;181(2):108–19.</a:t>
            </a:r>
          </a:p>
        </p:txBody>
      </p:sp>
    </p:spTree>
    <p:extLst>
      <p:ext uri="{BB962C8B-B14F-4D97-AF65-F5344CB8AC3E}">
        <p14:creationId xmlns:p14="http://schemas.microsoft.com/office/powerpoint/2010/main" val="3224474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71B42E-B15F-4185-AD73-155227311E11}"/>
              </a:ext>
            </a:extLst>
          </p:cNvPr>
          <p:cNvPicPr>
            <a:picLocks noChangeAspect="1"/>
          </p:cNvPicPr>
          <p:nvPr/>
        </p:nvPicPr>
        <p:blipFill rotWithShape="1">
          <a:blip r:embed="rId2"/>
          <a:srcRect r="-1" b="374"/>
          <a:stretch/>
        </p:blipFill>
        <p:spPr>
          <a:xfrm>
            <a:off x="8193023" y="640082"/>
            <a:ext cx="3359313" cy="5577837"/>
          </a:xfrm>
          <a:prstGeom prst="rect">
            <a:avLst/>
          </a:prstGeom>
          <a:effectLst/>
        </p:spPr>
      </p:pic>
      <p:sp>
        <p:nvSpPr>
          <p:cNvPr id="2" name="Title 1"/>
          <p:cNvSpPr>
            <a:spLocks noGrp="1"/>
          </p:cNvSpPr>
          <p:nvPr>
            <p:ph type="title"/>
          </p:nvPr>
        </p:nvSpPr>
        <p:spPr>
          <a:xfrm>
            <a:off x="648929" y="629266"/>
            <a:ext cx="6586491" cy="1231283"/>
          </a:xfrm>
        </p:spPr>
        <p:txBody>
          <a:bodyPr>
            <a:normAutofit/>
          </a:bodyPr>
          <a:lstStyle/>
          <a:p>
            <a:r>
              <a:rPr lang="en-US" dirty="0"/>
              <a:t>Functional Approximation</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406399" y="1755648"/>
                <a:ext cx="7375525" cy="4468171"/>
              </a:xfrm>
            </p:spPr>
            <p:txBody>
              <a:bodyPr>
                <a:normAutofit fontScale="70000" lnSpcReduction="20000"/>
              </a:bodyPr>
              <a:lstStyle/>
              <a:p>
                <a:pPr>
                  <a:spcBef>
                    <a:spcPts val="600"/>
                  </a:spcBef>
                  <a:spcAft>
                    <a:spcPts val="600"/>
                  </a:spcAft>
                </a:pPr>
                <a:r>
                  <a:rPr lang="en-US" sz="2400" dirty="0">
                    <a:latin typeface="+mj-lt"/>
                  </a:rPr>
                  <a:t>Assume a true functional relationship between features X and outcomes Y</a:t>
                </a:r>
              </a:p>
              <a:p>
                <a:pPr marL="0" indent="0">
                  <a:spcBef>
                    <a:spcPts val="600"/>
                  </a:spcBef>
                  <a:spcAft>
                    <a:spcPts val="600"/>
                  </a:spcAft>
                  <a:buNone/>
                </a:pPr>
                <a14:m>
                  <m:oMathPara xmlns:m="http://schemas.openxmlformats.org/officeDocument/2006/math">
                    <m:oMathParaPr>
                      <m:jc m:val="centerGroup"/>
                    </m:oMathParaPr>
                    <m:oMath xmlns:m="http://schemas.openxmlformats.org/officeDocument/2006/math">
                      <m:r>
                        <a:rPr lang="en-US" sz="2400">
                          <a:latin typeface="Cambria Math" panose="02040503050406030204" pitchFamily="18" charset="0"/>
                        </a:rPr>
                        <m:t>𝑌</m:t>
                      </m:r>
                      <m:r>
                        <a:rPr lang="en-US" sz="2400">
                          <a:latin typeface="Cambria Math" panose="02040503050406030204" pitchFamily="18" charset="0"/>
                        </a:rPr>
                        <m:t>=</m:t>
                      </m:r>
                      <m:r>
                        <a:rPr lang="en-US" sz="2400">
                          <a:latin typeface="Cambria Math" panose="02040503050406030204" pitchFamily="18" charset="0"/>
                        </a:rPr>
                        <m:t>𝑓</m:t>
                      </m:r>
                      <m:d>
                        <m:dPr>
                          <m:ctrlPr>
                            <a:rPr lang="en-US" sz="2400" i="1">
                              <a:latin typeface="Cambria Math" panose="02040503050406030204" pitchFamily="18" charset="0"/>
                            </a:rPr>
                          </m:ctrlPr>
                        </m:dPr>
                        <m:e>
                          <m:r>
                            <a:rPr lang="en-US" sz="2400">
                              <a:latin typeface="Cambria Math" panose="02040503050406030204" pitchFamily="18" charset="0"/>
                            </a:rPr>
                            <m:t>𝑋</m:t>
                          </m:r>
                        </m:e>
                      </m:d>
                      <m:r>
                        <a:rPr lang="en-US" sz="2400">
                          <a:latin typeface="Cambria Math" panose="02040503050406030204" pitchFamily="18" charset="0"/>
                        </a:rPr>
                        <m:t>+ </m:t>
                      </m:r>
                      <m:r>
                        <m:rPr>
                          <m:sty m:val="p"/>
                        </m:rPr>
                        <a:rPr lang="en-US" sz="2400">
                          <a:latin typeface="Cambria Math" panose="02040503050406030204" pitchFamily="18" charset="0"/>
                        </a:rPr>
                        <m:t>ϵ</m:t>
                      </m:r>
                      <m:r>
                        <a:rPr lang="en-US" sz="2400">
                          <a:latin typeface="Cambria Math" panose="02040503050406030204" pitchFamily="18" charset="0"/>
                        </a:rPr>
                        <m:t>, </m:t>
                      </m:r>
                      <m:r>
                        <a:rPr lang="en-US" sz="2400">
                          <a:latin typeface="Cambria Math" panose="02040503050406030204" pitchFamily="18" charset="0"/>
                        </a:rPr>
                        <m:t>𝐸</m:t>
                      </m:r>
                      <m:d>
                        <m:dPr>
                          <m:ctrlPr>
                            <a:rPr lang="en-US" sz="2400" i="1">
                              <a:latin typeface="Cambria Math" panose="02040503050406030204" pitchFamily="18" charset="0"/>
                            </a:rPr>
                          </m:ctrlPr>
                        </m:dPr>
                        <m:e>
                          <m:r>
                            <a:rPr lang="en-US" sz="2400">
                              <a:latin typeface="Cambria Math" panose="02040503050406030204" pitchFamily="18" charset="0"/>
                            </a:rPr>
                            <m:t>𝜖</m:t>
                          </m:r>
                          <m:r>
                            <a:rPr lang="en-US" sz="2400">
                              <a:latin typeface="Cambria Math" panose="02040503050406030204" pitchFamily="18" charset="0"/>
                            </a:rPr>
                            <m:t>=0</m:t>
                          </m:r>
                        </m:e>
                      </m:d>
                      <m:r>
                        <a:rPr lang="en-US" sz="2400">
                          <a:latin typeface="Cambria Math" panose="02040503050406030204" pitchFamily="18" charset="0"/>
                        </a:rPr>
                        <m:t>, </m:t>
                      </m:r>
                    </m:oMath>
                  </m:oMathPara>
                </a14:m>
                <a:endParaRPr lang="en-US" sz="2400" dirty="0">
                  <a:latin typeface="+mj-lt"/>
                </a:endParaRPr>
              </a:p>
              <a:p>
                <a:pPr marL="0" indent="0">
                  <a:spcBef>
                    <a:spcPts val="600"/>
                  </a:spcBef>
                  <a:spcAft>
                    <a:spcPts val="600"/>
                  </a:spcAft>
                  <a:buNone/>
                </a:pPr>
                <a14:m>
                  <m:oMathPara xmlns:m="http://schemas.openxmlformats.org/officeDocument/2006/math">
                    <m:oMathParaPr>
                      <m:jc m:val="centerGroup"/>
                    </m:oMathParaPr>
                    <m:oMath xmlns:m="http://schemas.openxmlformats.org/officeDocument/2006/math">
                      <m:r>
                        <a:rPr lang="en-US" sz="2400">
                          <a:latin typeface="Cambria Math" panose="02040503050406030204" pitchFamily="18" charset="0"/>
                        </a:rPr>
                        <m:t>𝐸</m:t>
                      </m:r>
                      <m:d>
                        <m:dPr>
                          <m:ctrlPr>
                            <a:rPr lang="en-US" sz="2400" i="1">
                              <a:latin typeface="Cambria Math" panose="02040503050406030204" pitchFamily="18" charset="0"/>
                            </a:rPr>
                          </m:ctrlPr>
                        </m:dPr>
                        <m:e>
                          <m:sSup>
                            <m:sSupPr>
                              <m:ctrlPr>
                                <a:rPr lang="en-US" sz="2400" i="1">
                                  <a:latin typeface="Cambria Math" panose="02040503050406030204" pitchFamily="18" charset="0"/>
                                </a:rPr>
                              </m:ctrlPr>
                            </m:sSupPr>
                            <m:e>
                              <m:r>
                                <a:rPr lang="en-US" sz="2400">
                                  <a:latin typeface="Cambria Math" panose="02040503050406030204" pitchFamily="18" charset="0"/>
                                </a:rPr>
                                <m:t>𝜖</m:t>
                              </m:r>
                            </m:e>
                            <m:sup>
                              <m:r>
                                <a:rPr lang="en-US" sz="2400">
                                  <a:latin typeface="Cambria Math" panose="02040503050406030204" pitchFamily="18" charset="0"/>
                                </a:rPr>
                                <m:t>2</m:t>
                              </m:r>
                            </m:sup>
                          </m:sSup>
                        </m:e>
                      </m:d>
                      <m:r>
                        <a:rPr lang="en-US" sz="2400">
                          <a:latin typeface="Cambria Math" panose="02040503050406030204" pitchFamily="18" charset="0"/>
                        </a:rPr>
                        <m:t>=</m:t>
                      </m:r>
                      <m:sSup>
                        <m:sSupPr>
                          <m:ctrlPr>
                            <a:rPr lang="en-US" sz="2400" i="1">
                              <a:latin typeface="Cambria Math" panose="02040503050406030204" pitchFamily="18" charset="0"/>
                            </a:rPr>
                          </m:ctrlPr>
                        </m:sSupPr>
                        <m:e>
                          <m:r>
                            <a:rPr lang="en-US" sz="2400">
                              <a:latin typeface="Cambria Math" panose="02040503050406030204" pitchFamily="18" charset="0"/>
                            </a:rPr>
                            <m:t>𝜎</m:t>
                          </m:r>
                        </m:e>
                        <m:sup>
                          <m:r>
                            <a:rPr lang="en-US" sz="2400">
                              <a:latin typeface="Cambria Math" panose="02040503050406030204" pitchFamily="18" charset="0"/>
                            </a:rPr>
                            <m:t>2</m:t>
                          </m:r>
                        </m:sup>
                      </m:sSup>
                      <m:r>
                        <a:rPr lang="en-US" sz="2400">
                          <a:latin typeface="Cambria Math" panose="02040503050406030204" pitchFamily="18" charset="0"/>
                        </a:rPr>
                        <m:t>,</m:t>
                      </m:r>
                    </m:oMath>
                  </m:oMathPara>
                </a14:m>
                <a:endParaRPr lang="en-US" sz="2400" dirty="0">
                  <a:latin typeface="+mj-lt"/>
                </a:endParaRPr>
              </a:p>
              <a:p>
                <a:pPr marL="0" indent="0">
                  <a:spcBef>
                    <a:spcPts val="600"/>
                  </a:spcBef>
                  <a:spcAft>
                    <a:spcPts val="600"/>
                  </a:spcAft>
                  <a:buNone/>
                </a:pP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cor</m:t>
                      </m:r>
                      <m:d>
                        <m:dPr>
                          <m:ctrlPr>
                            <a:rPr lang="en-US" sz="2400" i="1">
                              <a:latin typeface="Cambria Math" panose="02040503050406030204" pitchFamily="18" charset="0"/>
                            </a:rPr>
                          </m:ctrlPr>
                        </m:dPr>
                        <m:e>
                          <m:r>
                            <a:rPr lang="en-US" sz="2400">
                              <a:latin typeface="Cambria Math" panose="02040503050406030204" pitchFamily="18" charset="0"/>
                            </a:rPr>
                            <m:t>𝑋</m:t>
                          </m:r>
                          <m:r>
                            <a:rPr lang="en-US" sz="2400">
                              <a:latin typeface="Cambria Math" panose="02040503050406030204" pitchFamily="18" charset="0"/>
                            </a:rPr>
                            <m:t>,</m:t>
                          </m:r>
                          <m:r>
                            <a:rPr lang="en-US" sz="2400">
                              <a:latin typeface="Cambria Math" panose="02040503050406030204" pitchFamily="18" charset="0"/>
                            </a:rPr>
                            <m:t>𝜖</m:t>
                          </m:r>
                        </m:e>
                      </m:d>
                      <m:r>
                        <a:rPr lang="en-US" sz="2400">
                          <a:latin typeface="Cambria Math" panose="02040503050406030204" pitchFamily="18" charset="0"/>
                        </a:rPr>
                        <m:t>=0 </m:t>
                      </m:r>
                    </m:oMath>
                  </m:oMathPara>
                </a14:m>
                <a:endParaRPr lang="en-US" sz="2400" dirty="0">
                  <a:latin typeface="+mj-lt"/>
                </a:endParaRPr>
              </a:p>
              <a:p>
                <a:r>
                  <a:rPr lang="en-US" sz="2400" dirty="0">
                    <a:latin typeface="+mj-lt"/>
                  </a:rPr>
                  <a:t>Linear regression is a useful “first-order” functional approximation:</a:t>
                </a:r>
              </a:p>
              <a:p>
                <a:pPr marL="0" indent="0" algn="ctr">
                  <a:buNone/>
                </a:pPr>
                <a14:m>
                  <m:oMath xmlns:m="http://schemas.openxmlformats.org/officeDocument/2006/math">
                    <m:sSub>
                      <m:sSubPr>
                        <m:ctrlPr>
                          <a:rPr lang="en-US" sz="2400" i="1">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i="1">
                                <a:latin typeface="Cambria Math" panose="02040503050406030204" pitchFamily="18" charset="0"/>
                              </a:rPr>
                              <m:t>𝑌</m:t>
                            </m:r>
                          </m:e>
                        </m:acc>
                      </m:e>
                      <m:sub>
                        <m:r>
                          <a:rPr lang="en-US" sz="2400" i="1">
                            <a:latin typeface="Cambria Math" panose="02040503050406030204" pitchFamily="18" charset="0"/>
                          </a:rPr>
                          <m:t>𝑖</m:t>
                        </m:r>
                      </m:sub>
                    </m:sSub>
                    <m:r>
                      <a:rPr lang="en-US" sz="2400" i="1">
                        <a:latin typeface="Cambria Math" panose="02040503050406030204" pitchFamily="18" charset="0"/>
                      </a:rPr>
                      <m:t>=</m:t>
                    </m:r>
                  </m:oMath>
                </a14:m>
                <a:r>
                  <a:rPr lang="en-US" dirty="0"/>
                  <a:t> </a:t>
                </a:r>
                <a14:m>
                  <m:oMath xmlns:m="http://schemas.openxmlformats.org/officeDocument/2006/math">
                    <m:sSub>
                      <m:sSubPr>
                        <m:ctrlPr>
                          <a:rPr lang="en-US" sz="2400" i="1">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i="1">
                                <a:latin typeface="Cambria Math" panose="02040503050406030204" pitchFamily="18" charset="0"/>
                              </a:rPr>
                              <m:t>𝛽</m:t>
                            </m:r>
                          </m:e>
                        </m:acc>
                      </m:e>
                      <m:sub>
                        <m:r>
                          <a:rPr lang="en-US" sz="2400" i="1">
                            <a:latin typeface="Cambria Math" panose="02040503050406030204" pitchFamily="18" charset="0"/>
                          </a:rPr>
                          <m:t>0</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i="1">
                                <a:latin typeface="Cambria Math" panose="02040503050406030204" pitchFamily="18" charset="0"/>
                              </a:rPr>
                              <m:t>𝛽</m:t>
                            </m:r>
                          </m:e>
                        </m:acc>
                      </m:e>
                      <m:sub>
                        <m:r>
                          <a:rPr lang="en-US" sz="2400" i="1">
                            <a:latin typeface="Cambria Math" panose="02040503050406030204" pitchFamily="18" charset="0"/>
                          </a:rPr>
                          <m:t>1</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𝑥</m:t>
                        </m:r>
                      </m:e>
                      <m:sub>
                        <m:r>
                          <a:rPr lang="en-US" sz="2400" i="1">
                            <a:latin typeface="Cambria Math" panose="02040503050406030204" pitchFamily="18" charset="0"/>
                          </a:rPr>
                          <m:t>𝑖</m:t>
                        </m:r>
                        <m:r>
                          <a:rPr lang="en-US" sz="2400" i="1">
                            <a:latin typeface="Cambria Math" panose="02040503050406030204" pitchFamily="18" charset="0"/>
                          </a:rPr>
                          <m:t>1</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i="1">
                                <a:latin typeface="Cambria Math" panose="02040503050406030204" pitchFamily="18" charset="0"/>
                              </a:rPr>
                              <m:t>𝛽</m:t>
                            </m:r>
                          </m:e>
                        </m:acc>
                      </m:e>
                      <m:sub>
                        <m:r>
                          <a:rPr lang="en-US" sz="2400" i="1">
                            <a:latin typeface="Cambria Math" panose="02040503050406030204" pitchFamily="18" charset="0"/>
                          </a:rPr>
                          <m:t>2</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𝑥</m:t>
                        </m:r>
                      </m:e>
                      <m:sub>
                        <m:r>
                          <a:rPr lang="en-US" sz="2400" i="1">
                            <a:latin typeface="Cambria Math" panose="02040503050406030204" pitchFamily="18" charset="0"/>
                          </a:rPr>
                          <m:t>𝑖</m:t>
                        </m:r>
                        <m:r>
                          <a:rPr lang="en-US" sz="2400" i="1">
                            <a:latin typeface="Cambria Math" panose="02040503050406030204" pitchFamily="18" charset="0"/>
                          </a:rPr>
                          <m:t>2</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i="1">
                                <a:latin typeface="Cambria Math" panose="02040503050406030204" pitchFamily="18" charset="0"/>
                              </a:rPr>
                              <m:t>𝛽</m:t>
                            </m:r>
                          </m:e>
                        </m:acc>
                      </m:e>
                      <m:sub>
                        <m:r>
                          <a:rPr lang="en-US" sz="2400" i="1">
                            <a:latin typeface="Cambria Math" panose="02040503050406030204" pitchFamily="18" charset="0"/>
                          </a:rPr>
                          <m:t>𝑝</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𝑥</m:t>
                        </m:r>
                      </m:e>
                      <m:sub>
                        <m:r>
                          <a:rPr lang="en-US" sz="2400" i="1">
                            <a:latin typeface="Cambria Math" panose="02040503050406030204" pitchFamily="18" charset="0"/>
                          </a:rPr>
                          <m:t>𝑖𝑝</m:t>
                        </m:r>
                      </m:sub>
                    </m:sSub>
                  </m:oMath>
                </a14:m>
                <a:endParaRPr lang="en-US" dirty="0"/>
              </a:p>
              <a:p>
                <a:pPr lvl="1"/>
                <a:r>
                  <a:rPr lang="en-US" dirty="0">
                    <a:latin typeface="+mj-lt"/>
                  </a:rPr>
                  <a:t>Math is (relatively) simple</a:t>
                </a:r>
              </a:p>
              <a:p>
                <a:pPr lvl="1">
                  <a:spcAft>
                    <a:spcPts val="600"/>
                  </a:spcAft>
                </a:pPr>
                <a:r>
                  <a:rPr lang="en-US" dirty="0">
                    <a:latin typeface="+mj-lt"/>
                  </a:rPr>
                  <a:t>Easy to “predict” Y given observable X’s.</a:t>
                </a:r>
              </a:p>
              <a:p>
                <a:r>
                  <a:rPr lang="en-US" sz="2400" dirty="0">
                    <a:latin typeface="+mj-lt"/>
                  </a:rPr>
                  <a:t>Problem: simple functional approximations may generate poor predictions:</a:t>
                </a:r>
              </a:p>
              <a:p>
                <a:pPr lvl="1"/>
                <a:r>
                  <a:rPr lang="en-US" dirty="0">
                    <a:latin typeface="+mj-lt"/>
                  </a:rPr>
                  <a:t>Nonlinear and discontinuous relationships among X and Y</a:t>
                </a:r>
              </a:p>
              <a:p>
                <a:pPr lvl="1"/>
                <a:r>
                  <a:rPr lang="en-US" dirty="0">
                    <a:latin typeface="+mj-lt"/>
                  </a:rPr>
                  <a:t>Interactions among elements of X</a:t>
                </a:r>
              </a:p>
              <a:p>
                <a:pPr lvl="1"/>
                <a:r>
                  <a:rPr lang="en-US" dirty="0">
                    <a:latin typeface="+mj-lt"/>
                  </a:rPr>
                  <a:t>May not have access to all important elements of X (missing variables)</a:t>
                </a:r>
              </a:p>
              <a:p>
                <a:pPr lvl="1"/>
                <a:r>
                  <a:rPr lang="en-US" dirty="0">
                    <a:latin typeface="+mj-lt"/>
                  </a:rPr>
                  <a:t>Too many elements of X (“curse of dimensionality”)</a:t>
                </a:r>
              </a:p>
              <a:p>
                <a:endParaRPr lang="en-US" sz="2400" dirty="0">
                  <a:latin typeface="+mj-lt"/>
                </a:endParaRPr>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406399" y="1755648"/>
                <a:ext cx="7375525" cy="4468171"/>
              </a:xfrm>
              <a:blipFill>
                <a:blip r:embed="rId3"/>
                <a:stretch>
                  <a:fillRect l="-413" t="-1910"/>
                </a:stretch>
              </a:blipFill>
            </p:spPr>
            <p:txBody>
              <a:bodyPr/>
              <a:lstStyle/>
              <a:p>
                <a:r>
                  <a:rPr lang="en-US">
                    <a:noFill/>
                  </a:rPr>
                  <a:t> </a:t>
                </a:r>
              </a:p>
            </p:txBody>
          </p:sp>
        </mc:Fallback>
      </mc:AlternateContent>
    </p:spTree>
    <p:extLst>
      <p:ext uri="{BB962C8B-B14F-4D97-AF65-F5344CB8AC3E}">
        <p14:creationId xmlns:p14="http://schemas.microsoft.com/office/powerpoint/2010/main" val="4180531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1" end="11"/>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nodeType="afterEffect">
                                  <p:stCondLst>
                                    <p:cond delay="2500"/>
                                  </p:stCondLst>
                                  <p:childTnLst>
                                    <p:set>
                                      <p:cBhvr>
                                        <p:cTn id="45"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9309" y="491249"/>
            <a:ext cx="5126421" cy="1325563"/>
          </a:xfrm>
        </p:spPr>
        <p:txBody>
          <a:bodyPr>
            <a:normAutofit/>
          </a:bodyPr>
          <a:lstStyle/>
          <a:p>
            <a:pPr algn="ctr"/>
            <a:r>
              <a:rPr lang="en-US" sz="3600" dirty="0"/>
              <a:t>“Curse of Dimensionality”</a:t>
            </a:r>
            <a:endParaRPr lang="en-US" sz="4000" dirty="0"/>
          </a:p>
        </p:txBody>
      </p:sp>
      <p:graphicFrame>
        <p:nvGraphicFramePr>
          <p:cNvPr id="27" name="Content Placeholder 26">
            <a:extLst>
              <a:ext uri="{FF2B5EF4-FFF2-40B4-BE49-F238E27FC236}">
                <a16:creationId xmlns:a16="http://schemas.microsoft.com/office/drawing/2014/main" id="{54F32B07-8C71-4157-9710-581A0B63F0CF}"/>
              </a:ext>
            </a:extLst>
          </p:cNvPr>
          <p:cNvGraphicFramePr>
            <a:graphicFrameLocks noGrp="1"/>
          </p:cNvGraphicFramePr>
          <p:nvPr>
            <p:ph sz="half" idx="1"/>
            <p:extLst>
              <p:ext uri="{D42A27DB-BD31-4B8C-83A1-F6EECF244321}">
                <p14:modId xmlns:p14="http://schemas.microsoft.com/office/powerpoint/2010/main" val="1412167311"/>
              </p:ext>
            </p:extLst>
          </p:nvPr>
        </p:nvGraphicFramePr>
        <p:xfrm>
          <a:off x="5195571" y="1762699"/>
          <a:ext cx="6236818"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8" name="Group 17">
            <a:extLst>
              <a:ext uri="{FF2B5EF4-FFF2-40B4-BE49-F238E27FC236}">
                <a16:creationId xmlns:a16="http://schemas.microsoft.com/office/drawing/2014/main" id="{15F6FB36-6386-48C8-A275-CE2BBD4DE51A}"/>
              </a:ext>
            </a:extLst>
          </p:cNvPr>
          <p:cNvGrpSpPr/>
          <p:nvPr/>
        </p:nvGrpSpPr>
        <p:grpSpPr>
          <a:xfrm>
            <a:off x="678873" y="858974"/>
            <a:ext cx="4129610" cy="5380190"/>
            <a:chOff x="7255843" y="1257901"/>
            <a:chExt cx="3853591" cy="4977005"/>
          </a:xfrm>
        </p:grpSpPr>
        <p:grpSp>
          <p:nvGrpSpPr>
            <p:cNvPr id="13" name="Group 12">
              <a:extLst>
                <a:ext uri="{FF2B5EF4-FFF2-40B4-BE49-F238E27FC236}">
                  <a16:creationId xmlns:a16="http://schemas.microsoft.com/office/drawing/2014/main" id="{B0838782-341D-421F-BAD0-20D721608146}"/>
                </a:ext>
              </a:extLst>
            </p:cNvPr>
            <p:cNvGrpSpPr/>
            <p:nvPr/>
          </p:nvGrpSpPr>
          <p:grpSpPr>
            <a:xfrm>
              <a:off x="7255843" y="1257901"/>
              <a:ext cx="3853591" cy="4977005"/>
              <a:chOff x="7165833" y="1317356"/>
              <a:chExt cx="3636485" cy="5059455"/>
            </a:xfrm>
          </p:grpSpPr>
          <p:sp>
            <p:nvSpPr>
              <p:cNvPr id="14" name="Rectangle 13">
                <a:extLst>
                  <a:ext uri="{FF2B5EF4-FFF2-40B4-BE49-F238E27FC236}">
                    <a16:creationId xmlns:a16="http://schemas.microsoft.com/office/drawing/2014/main" id="{B83E1288-51C2-4452-8BB5-9B40AB96A163}"/>
                  </a:ext>
                </a:extLst>
              </p:cNvPr>
              <p:cNvSpPr/>
              <p:nvPr/>
            </p:nvSpPr>
            <p:spPr>
              <a:xfrm>
                <a:off x="7165833" y="1317356"/>
                <a:ext cx="3636485" cy="505945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15" name="Picture 14">
                <a:extLst>
                  <a:ext uri="{FF2B5EF4-FFF2-40B4-BE49-F238E27FC236}">
                    <a16:creationId xmlns:a16="http://schemas.microsoft.com/office/drawing/2014/main" id="{67F35794-6D9B-47C9-BC3F-52DB6821BB0B}"/>
                  </a:ext>
                </a:extLst>
              </p:cNvPr>
              <p:cNvPicPr>
                <a:picLocks noChangeAspect="1"/>
              </p:cNvPicPr>
              <p:nvPr/>
            </p:nvPicPr>
            <p:blipFill>
              <a:blip r:embed="rId7"/>
              <a:stretch>
                <a:fillRect/>
              </a:stretch>
            </p:blipFill>
            <p:spPr>
              <a:xfrm>
                <a:off x="8172931" y="1495588"/>
                <a:ext cx="2218394" cy="2238100"/>
              </a:xfrm>
              <a:prstGeom prst="rect">
                <a:avLst/>
              </a:prstGeom>
            </p:spPr>
          </p:pic>
          <p:pic>
            <p:nvPicPr>
              <p:cNvPr id="16" name="Picture 15">
                <a:extLst>
                  <a:ext uri="{FF2B5EF4-FFF2-40B4-BE49-F238E27FC236}">
                    <a16:creationId xmlns:a16="http://schemas.microsoft.com/office/drawing/2014/main" id="{63AC3A25-A165-474F-AAB6-4D8CEFCD85C6}"/>
                  </a:ext>
                </a:extLst>
              </p:cNvPr>
              <p:cNvPicPr>
                <a:picLocks noChangeAspect="1"/>
              </p:cNvPicPr>
              <p:nvPr/>
            </p:nvPicPr>
            <p:blipFill>
              <a:blip r:embed="rId8"/>
              <a:stretch>
                <a:fillRect/>
              </a:stretch>
            </p:blipFill>
            <p:spPr>
              <a:xfrm>
                <a:off x="7403357" y="3680846"/>
                <a:ext cx="2933521" cy="2695965"/>
              </a:xfrm>
              <a:prstGeom prst="rect">
                <a:avLst/>
              </a:prstGeom>
            </p:spPr>
          </p:pic>
          <p:pic>
            <p:nvPicPr>
              <p:cNvPr id="17" name="Picture 16">
                <a:extLst>
                  <a:ext uri="{FF2B5EF4-FFF2-40B4-BE49-F238E27FC236}">
                    <a16:creationId xmlns:a16="http://schemas.microsoft.com/office/drawing/2014/main" id="{8096F665-55BE-4D50-AF35-02B69B1B7870}"/>
                  </a:ext>
                </a:extLst>
              </p:cNvPr>
              <p:cNvPicPr>
                <a:picLocks noChangeAspect="1"/>
              </p:cNvPicPr>
              <p:nvPr/>
            </p:nvPicPr>
            <p:blipFill>
              <a:blip r:embed="rId9"/>
              <a:stretch>
                <a:fillRect/>
              </a:stretch>
            </p:blipFill>
            <p:spPr>
              <a:xfrm>
                <a:off x="7403355" y="1495588"/>
                <a:ext cx="676584" cy="2049651"/>
              </a:xfrm>
              <a:prstGeom prst="rect">
                <a:avLst/>
              </a:prstGeom>
            </p:spPr>
          </p:pic>
        </p:grpSp>
        <p:cxnSp>
          <p:nvCxnSpPr>
            <p:cNvPr id="8" name="Straight Connector 7">
              <a:extLst>
                <a:ext uri="{FF2B5EF4-FFF2-40B4-BE49-F238E27FC236}">
                  <a16:creationId xmlns:a16="http://schemas.microsoft.com/office/drawing/2014/main" id="{3F4983AA-B056-4924-9991-80FF8D72560C}"/>
                </a:ext>
              </a:extLst>
            </p:cNvPr>
            <p:cNvCxnSpPr>
              <a:cxnSpLocks/>
            </p:cNvCxnSpPr>
            <p:nvPr/>
          </p:nvCxnSpPr>
          <p:spPr>
            <a:xfrm>
              <a:off x="8622326" y="2200138"/>
              <a:ext cx="1827931" cy="61243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7BF59259-4658-43CF-A6E7-E1924C76BD53}"/>
                </a:ext>
              </a:extLst>
            </p:cNvPr>
            <p:cNvSpPr/>
            <p:nvPr/>
          </p:nvSpPr>
          <p:spPr>
            <a:xfrm rot="494877">
              <a:off x="7781908" y="4671948"/>
              <a:ext cx="2539458" cy="714505"/>
            </a:xfrm>
            <a:custGeom>
              <a:avLst/>
              <a:gdLst>
                <a:gd name="connsiteX0" fmla="*/ 0 w 2558473"/>
                <a:gd name="connsiteY0" fmla="*/ 835891 h 1981200"/>
                <a:gd name="connsiteX1" fmla="*/ 1662546 w 2558473"/>
                <a:gd name="connsiteY1" fmla="*/ 1981200 h 1981200"/>
                <a:gd name="connsiteX2" fmla="*/ 2558473 w 2558473"/>
                <a:gd name="connsiteY2" fmla="*/ 992909 h 1981200"/>
                <a:gd name="connsiteX3" fmla="*/ 1168400 w 2558473"/>
                <a:gd name="connsiteY3" fmla="*/ 0 h 1981200"/>
                <a:gd name="connsiteX4" fmla="*/ 0 w 2558473"/>
                <a:gd name="connsiteY4" fmla="*/ 835891 h 198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473" h="1981200">
                  <a:moveTo>
                    <a:pt x="0" y="835891"/>
                  </a:moveTo>
                  <a:lnTo>
                    <a:pt x="1662546" y="1981200"/>
                  </a:lnTo>
                  <a:lnTo>
                    <a:pt x="2558473" y="992909"/>
                  </a:lnTo>
                  <a:lnTo>
                    <a:pt x="1168400" y="0"/>
                  </a:lnTo>
                  <a:lnTo>
                    <a:pt x="0" y="835891"/>
                  </a:lnTo>
                  <a:close/>
                </a:path>
              </a:pathLst>
            </a:custGeom>
            <a:solidFill>
              <a:schemeClr val="accent1">
                <a:alpha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8" name="Straight Connector 27">
            <a:extLst>
              <a:ext uri="{FF2B5EF4-FFF2-40B4-BE49-F238E27FC236}">
                <a16:creationId xmlns:a16="http://schemas.microsoft.com/office/drawing/2014/main" id="{716DC6E3-9EBC-49FA-839D-2601906D8907}"/>
              </a:ext>
            </a:extLst>
          </p:cNvPr>
          <p:cNvCxnSpPr>
            <a:cxnSpLocks/>
          </p:cNvCxnSpPr>
          <p:nvPr/>
        </p:nvCxnSpPr>
        <p:spPr>
          <a:xfrm>
            <a:off x="1270000" y="2270085"/>
            <a:ext cx="290945"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254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ron Law of Prediction</a:t>
            </a:r>
          </a:p>
        </p:txBody>
      </p:sp>
      <p:grpSp>
        <p:nvGrpSpPr>
          <p:cNvPr id="34" name="Group 33">
            <a:extLst>
              <a:ext uri="{FF2B5EF4-FFF2-40B4-BE49-F238E27FC236}">
                <a16:creationId xmlns:a16="http://schemas.microsoft.com/office/drawing/2014/main" id="{1657C758-6BA8-423C-B556-0A38FFF50D3C}"/>
              </a:ext>
            </a:extLst>
          </p:cNvPr>
          <p:cNvGrpSpPr/>
          <p:nvPr/>
        </p:nvGrpSpPr>
        <p:grpSpPr>
          <a:xfrm>
            <a:off x="7411177" y="2440292"/>
            <a:ext cx="3255130" cy="1804330"/>
            <a:chOff x="7411177" y="2440292"/>
            <a:chExt cx="3255130" cy="1804330"/>
          </a:xfrm>
        </p:grpSpPr>
        <p:sp>
          <p:nvSpPr>
            <p:cNvPr id="5" name="Freeform: Shape 4"/>
            <p:cNvSpPr/>
            <p:nvPr/>
          </p:nvSpPr>
          <p:spPr>
            <a:xfrm>
              <a:off x="7411177" y="2440292"/>
              <a:ext cx="3255130" cy="1804330"/>
            </a:xfrm>
            <a:custGeom>
              <a:avLst/>
              <a:gdLst>
                <a:gd name="connsiteX0" fmla="*/ 0 w 3486150"/>
                <a:gd name="connsiteY0" fmla="*/ 0 h 1415267"/>
                <a:gd name="connsiteX1" fmla="*/ 1295400 w 3486150"/>
                <a:gd name="connsiteY1" fmla="*/ 1403350 h 1415267"/>
                <a:gd name="connsiteX2" fmla="*/ 3486150 w 3486150"/>
                <a:gd name="connsiteY2" fmla="*/ 558800 h 1415267"/>
              </a:gdLst>
              <a:ahLst/>
              <a:cxnLst>
                <a:cxn ang="0">
                  <a:pos x="connsiteX0" y="connsiteY0"/>
                </a:cxn>
                <a:cxn ang="0">
                  <a:pos x="connsiteX1" y="connsiteY1"/>
                </a:cxn>
                <a:cxn ang="0">
                  <a:pos x="connsiteX2" y="connsiteY2"/>
                </a:cxn>
              </a:cxnLst>
              <a:rect l="l" t="t" r="r" b="b"/>
              <a:pathLst>
                <a:path w="3486150" h="1415267">
                  <a:moveTo>
                    <a:pt x="0" y="0"/>
                  </a:moveTo>
                  <a:cubicBezTo>
                    <a:pt x="357187" y="655108"/>
                    <a:pt x="714375" y="1310217"/>
                    <a:pt x="1295400" y="1403350"/>
                  </a:cubicBezTo>
                  <a:cubicBezTo>
                    <a:pt x="1876425" y="1496483"/>
                    <a:pt x="2681287" y="1027641"/>
                    <a:pt x="3486150" y="558800"/>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p:cNvSpPr txBox="1"/>
            <p:nvPr/>
          </p:nvSpPr>
          <p:spPr>
            <a:xfrm>
              <a:off x="7589326" y="2650296"/>
              <a:ext cx="1338667" cy="548526"/>
            </a:xfrm>
            <a:prstGeom prst="rect">
              <a:avLst/>
            </a:prstGeom>
            <a:noFill/>
          </p:spPr>
          <p:txBody>
            <a:bodyPr wrap="square" tIns="45720" rtlCol="0" anchor="ctr" anchorCtr="0">
              <a:noAutofit/>
            </a:bodyPr>
            <a:lstStyle/>
            <a:p>
              <a:pPr algn="ctr"/>
              <a:r>
                <a:rPr lang="en-US" sz="1200" dirty="0">
                  <a:solidFill>
                    <a:srgbClr val="FF0000"/>
                  </a:solidFill>
                </a:rPr>
                <a:t>Future Observations</a:t>
              </a:r>
            </a:p>
          </p:txBody>
        </p:sp>
      </p:grpSp>
      <mc:AlternateContent xmlns:mc="http://schemas.openxmlformats.org/markup-compatibility/2006">
        <mc:Choice xmlns:a14="http://schemas.microsoft.com/office/drawing/2010/main" Requires="a14">
          <p:sp>
            <p:nvSpPr>
              <p:cNvPr id="23" name="Content Placeholder 2"/>
              <p:cNvSpPr txBox="1">
                <a:spLocks/>
              </p:cNvSpPr>
              <p:nvPr/>
            </p:nvSpPr>
            <p:spPr>
              <a:xfrm>
                <a:off x="550696" y="1799740"/>
                <a:ext cx="6194783" cy="4172786"/>
              </a:xfrm>
              <a:prstGeom prst="rect">
                <a:avLst/>
              </a:prstGeom>
              <a:ln w="12700">
                <a:noFill/>
              </a:ln>
            </p:spPr>
            <p:txBody>
              <a:bodyPr>
                <a:noAutofit/>
              </a:bodyPr>
              <a:lst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indent="-173736">
                  <a:spcBef>
                    <a:spcPts val="1200"/>
                  </a:spcBef>
                  <a:spcAft>
                    <a:spcPts val="0"/>
                  </a:spcAft>
                  <a:buClr>
                    <a:schemeClr val="tx2"/>
                  </a:buClr>
                </a:pPr>
                <a:r>
                  <a:rPr lang="en-US" sz="2000" dirty="0">
                    <a:solidFill>
                      <a:schemeClr val="tx2"/>
                    </a:solidFill>
                    <a:latin typeface="+mj-lt"/>
                  </a:rPr>
                  <a:t>Expected squared prediction error:</a:t>
                </a:r>
              </a:p>
              <a:p>
                <a:pPr marL="0" indent="0">
                  <a:spcBef>
                    <a:spcPts val="1200"/>
                  </a:spcBef>
                  <a:spcAft>
                    <a:spcPts val="0"/>
                  </a:spcAft>
                  <a:buNone/>
                </a:pPr>
                <a14:m>
                  <m:oMathPara xmlns:m="http://schemas.openxmlformats.org/officeDocument/2006/math">
                    <m:oMathParaPr>
                      <m:jc m:val="centerGroup"/>
                    </m:oMathParaPr>
                    <m:oMath xmlns:m="http://schemas.openxmlformats.org/officeDocument/2006/math">
                      <m:r>
                        <a:rPr lang="en-US" i="1">
                          <a:solidFill>
                            <a:schemeClr val="tx2"/>
                          </a:solidFill>
                          <a:latin typeface="Cambria Math" panose="02040503050406030204" pitchFamily="18" charset="0"/>
                        </a:rPr>
                        <m:t>𝐸</m:t>
                      </m:r>
                      <m:d>
                        <m:dPr>
                          <m:begChr m:val="["/>
                          <m:endChr m:val="]"/>
                          <m:ctrlPr>
                            <a:rPr lang="en-US" i="1">
                              <a:solidFill>
                                <a:schemeClr val="tx2"/>
                              </a:solidFill>
                              <a:latin typeface="Cambria Math" panose="02040503050406030204" pitchFamily="18" charset="0"/>
                            </a:rPr>
                          </m:ctrlPr>
                        </m:dPr>
                        <m:e>
                          <m:sSup>
                            <m:sSupPr>
                              <m:ctrlPr>
                                <a:rPr lang="en-US" i="1">
                                  <a:solidFill>
                                    <a:schemeClr val="tx2"/>
                                  </a:solidFill>
                                  <a:latin typeface="Cambria Math" panose="02040503050406030204" pitchFamily="18" charset="0"/>
                                </a:rPr>
                              </m:ctrlPr>
                            </m:sSupPr>
                            <m:e>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𝑌</m:t>
                                  </m:r>
                                  <m:r>
                                    <a:rPr lang="en-US" i="1">
                                      <a:solidFill>
                                        <a:schemeClr val="tx2"/>
                                      </a:solidFill>
                                      <a:latin typeface="Cambria Math" panose="02040503050406030204" pitchFamily="18" charset="0"/>
                                    </a:rPr>
                                    <m:t>−</m:t>
                                  </m:r>
                                  <m:acc>
                                    <m:accPr>
                                      <m:chr m:val="̂"/>
                                      <m:ctrlPr>
                                        <a:rPr lang="en-US" i="1">
                                          <a:solidFill>
                                            <a:schemeClr val="tx2"/>
                                          </a:solidFill>
                                          <a:latin typeface="Cambria Math" panose="02040503050406030204" pitchFamily="18" charset="0"/>
                                        </a:rPr>
                                      </m:ctrlPr>
                                    </m:accPr>
                                    <m:e>
                                      <m:r>
                                        <a:rPr lang="en-US" i="1">
                                          <a:solidFill>
                                            <a:schemeClr val="tx2"/>
                                          </a:solidFill>
                                          <a:latin typeface="Cambria Math" panose="02040503050406030204" pitchFamily="18" charset="0"/>
                                        </a:rPr>
                                        <m:t>𝑓</m:t>
                                      </m:r>
                                    </m:e>
                                  </m:acc>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𝑋</m:t>
                                      </m:r>
                                    </m:e>
                                  </m:d>
                                </m:e>
                              </m:d>
                            </m:e>
                            <m:sup>
                              <m:r>
                                <a:rPr lang="en-US" i="1">
                                  <a:solidFill>
                                    <a:schemeClr val="tx2"/>
                                  </a:solidFill>
                                  <a:latin typeface="Cambria Math" panose="02040503050406030204" pitchFamily="18" charset="0"/>
                                </a:rPr>
                                <m:t>2</m:t>
                              </m:r>
                            </m:sup>
                          </m:sSup>
                        </m:e>
                      </m:d>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𝐸</m:t>
                      </m:r>
                      <m:d>
                        <m:dPr>
                          <m:begChr m:val="["/>
                          <m:endChr m:val="]"/>
                          <m:ctrlPr>
                            <a:rPr lang="en-US" i="1">
                              <a:solidFill>
                                <a:schemeClr val="tx2"/>
                              </a:solidFill>
                              <a:latin typeface="Cambria Math" panose="02040503050406030204" pitchFamily="18" charset="0"/>
                            </a:rPr>
                          </m:ctrlPr>
                        </m:dPr>
                        <m:e>
                          <m:sSup>
                            <m:sSupPr>
                              <m:ctrlPr>
                                <a:rPr lang="en-US" i="1">
                                  <a:solidFill>
                                    <a:schemeClr val="tx2"/>
                                  </a:solidFill>
                                  <a:latin typeface="Cambria Math" panose="02040503050406030204" pitchFamily="18" charset="0"/>
                                </a:rPr>
                              </m:ctrlPr>
                            </m:sSupPr>
                            <m:e>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𝑓</m:t>
                                  </m:r>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𝑋</m:t>
                                      </m:r>
                                    </m:e>
                                  </m:d>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𝜖</m:t>
                                  </m:r>
                                  <m:r>
                                    <a:rPr lang="en-US" i="1">
                                      <a:solidFill>
                                        <a:schemeClr val="tx2"/>
                                      </a:solidFill>
                                      <a:latin typeface="Cambria Math" panose="02040503050406030204" pitchFamily="18" charset="0"/>
                                    </a:rPr>
                                    <m:t>)−</m:t>
                                  </m:r>
                                  <m:acc>
                                    <m:accPr>
                                      <m:chr m:val="̂"/>
                                      <m:ctrlPr>
                                        <a:rPr lang="en-US" i="1">
                                          <a:solidFill>
                                            <a:schemeClr val="tx2"/>
                                          </a:solidFill>
                                          <a:latin typeface="Cambria Math" panose="02040503050406030204" pitchFamily="18" charset="0"/>
                                        </a:rPr>
                                      </m:ctrlPr>
                                    </m:accPr>
                                    <m:e>
                                      <m:r>
                                        <a:rPr lang="en-US" i="1">
                                          <a:solidFill>
                                            <a:schemeClr val="tx2"/>
                                          </a:solidFill>
                                          <a:latin typeface="Cambria Math" panose="02040503050406030204" pitchFamily="18" charset="0"/>
                                        </a:rPr>
                                        <m:t>𝑓</m:t>
                                      </m:r>
                                    </m:e>
                                  </m:acc>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𝑋</m:t>
                                      </m:r>
                                    </m:e>
                                  </m:d>
                                </m:e>
                              </m:d>
                            </m:e>
                            <m:sup>
                              <m:r>
                                <a:rPr lang="en-US" i="1">
                                  <a:solidFill>
                                    <a:schemeClr val="tx2"/>
                                  </a:solidFill>
                                  <a:latin typeface="Cambria Math" panose="02040503050406030204" pitchFamily="18" charset="0"/>
                                </a:rPr>
                                <m:t>2</m:t>
                              </m:r>
                            </m:sup>
                          </m:sSup>
                        </m:e>
                      </m:d>
                    </m:oMath>
                  </m:oMathPara>
                </a14:m>
                <a:endParaRPr lang="en-US" dirty="0">
                  <a:solidFill>
                    <a:schemeClr val="tx2"/>
                  </a:solidFill>
                  <a:latin typeface="+mj-lt"/>
                </a:endParaRPr>
              </a:p>
              <a:p>
                <a:pPr marL="0" indent="0">
                  <a:spcBef>
                    <a:spcPts val="1200"/>
                  </a:spcBef>
                  <a:spcAft>
                    <a:spcPts val="0"/>
                  </a:spcAft>
                  <a:buNone/>
                </a:pPr>
                <a14:m>
                  <m:oMathPara xmlns:m="http://schemas.openxmlformats.org/officeDocument/2006/math">
                    <m:oMathParaPr>
                      <m:jc m:val="centerGroup"/>
                    </m:oMathParaPr>
                    <m:oMath xmlns:m="http://schemas.openxmlformats.org/officeDocument/2006/math">
                      <m:r>
                        <a:rPr lang="en-US" i="1">
                          <a:solidFill>
                            <a:schemeClr val="tx2"/>
                          </a:solidFill>
                          <a:latin typeface="Cambria Math" panose="02040503050406030204" pitchFamily="18" charset="0"/>
                        </a:rPr>
                        <m:t>= </m:t>
                      </m:r>
                      <m:r>
                        <a:rPr lang="en-US" i="1" smtClean="0">
                          <a:solidFill>
                            <a:schemeClr val="accent4">
                              <a:lumMod val="60000"/>
                              <a:lumOff val="40000"/>
                            </a:schemeClr>
                          </a:solidFill>
                          <a:latin typeface="Cambria Math" panose="02040503050406030204" pitchFamily="18" charset="0"/>
                        </a:rPr>
                        <m:t>𝐸</m:t>
                      </m:r>
                      <m:d>
                        <m:dPr>
                          <m:begChr m:val="["/>
                          <m:endChr m:val="]"/>
                          <m:ctrlPr>
                            <a:rPr lang="en-US" i="1">
                              <a:solidFill>
                                <a:schemeClr val="accent4">
                                  <a:lumMod val="60000"/>
                                  <a:lumOff val="40000"/>
                                </a:schemeClr>
                              </a:solidFill>
                              <a:latin typeface="Cambria Math" panose="02040503050406030204" pitchFamily="18" charset="0"/>
                            </a:rPr>
                          </m:ctrlPr>
                        </m:dPr>
                        <m:e>
                          <m:sSup>
                            <m:sSupPr>
                              <m:ctrlPr>
                                <a:rPr lang="en-US" i="1">
                                  <a:solidFill>
                                    <a:schemeClr val="accent4">
                                      <a:lumMod val="60000"/>
                                      <a:lumOff val="40000"/>
                                    </a:schemeClr>
                                  </a:solidFill>
                                  <a:latin typeface="Cambria Math" panose="02040503050406030204" pitchFamily="18" charset="0"/>
                                </a:rPr>
                              </m:ctrlPr>
                            </m:sSupPr>
                            <m:e>
                              <m:r>
                                <a:rPr lang="en-US" i="1">
                                  <a:solidFill>
                                    <a:schemeClr val="accent4">
                                      <a:lumMod val="60000"/>
                                      <a:lumOff val="40000"/>
                                    </a:schemeClr>
                                  </a:solidFill>
                                  <a:latin typeface="Cambria Math" panose="02040503050406030204" pitchFamily="18" charset="0"/>
                                </a:rPr>
                                <m:t>𝜖</m:t>
                              </m:r>
                            </m:e>
                            <m:sup>
                              <m:r>
                                <a:rPr lang="en-US" i="1">
                                  <a:solidFill>
                                    <a:schemeClr val="accent4">
                                      <a:lumMod val="60000"/>
                                      <a:lumOff val="40000"/>
                                    </a:schemeClr>
                                  </a:solidFill>
                                  <a:latin typeface="Cambria Math" panose="02040503050406030204" pitchFamily="18" charset="0"/>
                                </a:rPr>
                                <m:t>2</m:t>
                              </m:r>
                            </m:sup>
                          </m:sSup>
                        </m:e>
                      </m:d>
                      <m:r>
                        <a:rPr lang="en-US" i="1">
                          <a:solidFill>
                            <a:schemeClr val="tx2"/>
                          </a:solidFill>
                          <a:latin typeface="Cambria Math" panose="02040503050406030204" pitchFamily="18" charset="0"/>
                        </a:rPr>
                        <m:t>+</m:t>
                      </m:r>
                      <m:r>
                        <a:rPr lang="en-US" i="1" smtClean="0">
                          <a:solidFill>
                            <a:srgbClr val="6FAADC"/>
                          </a:solidFill>
                          <a:latin typeface="Cambria Math" panose="02040503050406030204" pitchFamily="18" charset="0"/>
                        </a:rPr>
                        <m:t>𝐸</m:t>
                      </m:r>
                      <m:sSup>
                        <m:sSupPr>
                          <m:ctrlPr>
                            <a:rPr lang="en-US" i="1">
                              <a:solidFill>
                                <a:srgbClr val="6FAADC"/>
                              </a:solidFill>
                              <a:latin typeface="Cambria Math" panose="02040503050406030204" pitchFamily="18" charset="0"/>
                            </a:rPr>
                          </m:ctrlPr>
                        </m:sSupPr>
                        <m:e>
                          <m:d>
                            <m:dPr>
                              <m:begChr m:val="["/>
                              <m:endChr m:val="]"/>
                              <m:ctrlPr>
                                <a:rPr lang="en-US" i="1">
                                  <a:solidFill>
                                    <a:srgbClr val="6FAADC"/>
                                  </a:solidFill>
                                  <a:latin typeface="Cambria Math" panose="02040503050406030204" pitchFamily="18" charset="0"/>
                                </a:rPr>
                              </m:ctrlPr>
                            </m:dPr>
                            <m:e>
                              <m:r>
                                <a:rPr lang="en-US" i="1">
                                  <a:solidFill>
                                    <a:srgbClr val="6FAADC"/>
                                  </a:solidFill>
                                  <a:latin typeface="Cambria Math" panose="02040503050406030204" pitchFamily="18" charset="0"/>
                                </a:rPr>
                                <m:t>𝑓</m:t>
                              </m:r>
                              <m:d>
                                <m:dPr>
                                  <m:ctrlPr>
                                    <a:rPr lang="en-US" i="1">
                                      <a:solidFill>
                                        <a:srgbClr val="6FAADC"/>
                                      </a:solidFill>
                                      <a:latin typeface="Cambria Math" panose="02040503050406030204" pitchFamily="18" charset="0"/>
                                    </a:rPr>
                                  </m:ctrlPr>
                                </m:dPr>
                                <m:e>
                                  <m:r>
                                    <a:rPr lang="en-US" i="1">
                                      <a:solidFill>
                                        <a:srgbClr val="6FAADC"/>
                                      </a:solidFill>
                                      <a:latin typeface="Cambria Math" panose="02040503050406030204" pitchFamily="18" charset="0"/>
                                    </a:rPr>
                                    <m:t>𝑋</m:t>
                                  </m:r>
                                </m:e>
                              </m:d>
                              <m:r>
                                <a:rPr lang="en-US" i="1">
                                  <a:solidFill>
                                    <a:srgbClr val="6FAADC"/>
                                  </a:solidFill>
                                  <a:latin typeface="Cambria Math" panose="02040503050406030204" pitchFamily="18" charset="0"/>
                                </a:rPr>
                                <m:t>−</m:t>
                              </m:r>
                              <m:acc>
                                <m:accPr>
                                  <m:chr m:val="̂"/>
                                  <m:ctrlPr>
                                    <a:rPr lang="en-US" i="1">
                                      <a:solidFill>
                                        <a:srgbClr val="6FAADC"/>
                                      </a:solidFill>
                                      <a:latin typeface="Cambria Math" panose="02040503050406030204" pitchFamily="18" charset="0"/>
                                    </a:rPr>
                                  </m:ctrlPr>
                                </m:accPr>
                                <m:e>
                                  <m:r>
                                    <a:rPr lang="en-US" i="1">
                                      <a:solidFill>
                                        <a:srgbClr val="6FAADC"/>
                                      </a:solidFill>
                                      <a:latin typeface="Cambria Math" panose="02040503050406030204" pitchFamily="18" charset="0"/>
                                    </a:rPr>
                                    <m:t>𝑓</m:t>
                                  </m:r>
                                </m:e>
                              </m:acc>
                              <m:d>
                                <m:dPr>
                                  <m:ctrlPr>
                                    <a:rPr lang="en-US" i="1">
                                      <a:solidFill>
                                        <a:srgbClr val="6FAADC"/>
                                      </a:solidFill>
                                      <a:latin typeface="Cambria Math" panose="02040503050406030204" pitchFamily="18" charset="0"/>
                                    </a:rPr>
                                  </m:ctrlPr>
                                </m:dPr>
                                <m:e>
                                  <m:r>
                                    <a:rPr lang="en-US" i="1">
                                      <a:solidFill>
                                        <a:srgbClr val="6FAADC"/>
                                      </a:solidFill>
                                      <a:latin typeface="Cambria Math" panose="02040503050406030204" pitchFamily="18" charset="0"/>
                                    </a:rPr>
                                    <m:t>𝑋</m:t>
                                  </m:r>
                                </m:e>
                              </m:d>
                            </m:e>
                          </m:d>
                        </m:e>
                        <m:sup>
                          <m:r>
                            <a:rPr lang="en-US" i="1">
                              <a:solidFill>
                                <a:srgbClr val="6FAADC"/>
                              </a:solidFill>
                              <a:latin typeface="Cambria Math" panose="02040503050406030204" pitchFamily="18" charset="0"/>
                            </a:rPr>
                            <m:t>2</m:t>
                          </m:r>
                        </m:sup>
                      </m:sSup>
                      <m:r>
                        <a:rPr lang="en-US" i="1">
                          <a:solidFill>
                            <a:schemeClr val="tx2"/>
                          </a:solidFill>
                          <a:latin typeface="Cambria Math" panose="02040503050406030204" pitchFamily="18" charset="0"/>
                        </a:rPr>
                        <m:t>+</m:t>
                      </m:r>
                      <m:r>
                        <a:rPr lang="en-US" i="1" smtClean="0">
                          <a:solidFill>
                            <a:srgbClr val="FF0000"/>
                          </a:solidFill>
                          <a:latin typeface="Cambria Math" panose="02040503050406030204" pitchFamily="18" charset="0"/>
                        </a:rPr>
                        <m:t>𝐸</m:t>
                      </m:r>
                      <m:sSup>
                        <m:sSupPr>
                          <m:ctrlPr>
                            <a:rPr lang="en-US" i="1">
                              <a:solidFill>
                                <a:srgbClr val="FF0000"/>
                              </a:solidFill>
                              <a:latin typeface="Cambria Math" panose="02040503050406030204" pitchFamily="18" charset="0"/>
                            </a:rPr>
                          </m:ctrlPr>
                        </m:sSupPr>
                        <m:e>
                          <m:d>
                            <m:dPr>
                              <m:begChr m:val="["/>
                              <m:endChr m:val="]"/>
                              <m:ctrlPr>
                                <a:rPr lang="en-US" i="1">
                                  <a:solidFill>
                                    <a:srgbClr val="FF0000"/>
                                  </a:solidFill>
                                  <a:latin typeface="Cambria Math" panose="02040503050406030204" pitchFamily="18" charset="0"/>
                                </a:rPr>
                              </m:ctrlPr>
                            </m:dPr>
                            <m:e>
                              <m:acc>
                                <m:accPr>
                                  <m:chr m:val="̂"/>
                                  <m:ctrlPr>
                                    <a:rPr lang="en-US" i="1">
                                      <a:solidFill>
                                        <a:srgbClr val="FF0000"/>
                                      </a:solidFill>
                                      <a:latin typeface="Cambria Math" panose="02040503050406030204" pitchFamily="18" charset="0"/>
                                    </a:rPr>
                                  </m:ctrlPr>
                                </m:accPr>
                                <m:e>
                                  <m:r>
                                    <a:rPr lang="en-US" i="1">
                                      <a:solidFill>
                                        <a:srgbClr val="FF0000"/>
                                      </a:solidFill>
                                      <a:latin typeface="Cambria Math" panose="02040503050406030204" pitchFamily="18" charset="0"/>
                                    </a:rPr>
                                    <m:t>𝑓</m:t>
                                  </m:r>
                                </m:e>
                              </m:acc>
                              <m:d>
                                <m:dPr>
                                  <m:ctrlPr>
                                    <a:rPr lang="en-US" i="1">
                                      <a:solidFill>
                                        <a:srgbClr val="FF0000"/>
                                      </a:solidFill>
                                      <a:latin typeface="Cambria Math" panose="02040503050406030204" pitchFamily="18" charset="0"/>
                                    </a:rPr>
                                  </m:ctrlPr>
                                </m:dPr>
                                <m:e>
                                  <m:r>
                                    <a:rPr lang="en-US" i="1">
                                      <a:solidFill>
                                        <a:srgbClr val="FF0000"/>
                                      </a:solidFill>
                                      <a:latin typeface="Cambria Math" panose="02040503050406030204" pitchFamily="18" charset="0"/>
                                    </a:rPr>
                                    <m:t>𝑋</m:t>
                                  </m:r>
                                </m:e>
                              </m:d>
                            </m:e>
                          </m:d>
                        </m:e>
                        <m:sup>
                          <m:r>
                            <a:rPr lang="en-US" i="1">
                              <a:solidFill>
                                <a:srgbClr val="FF0000"/>
                              </a:solidFill>
                              <a:latin typeface="Cambria Math" panose="02040503050406030204" pitchFamily="18" charset="0"/>
                            </a:rPr>
                            <m:t>2</m:t>
                          </m:r>
                        </m:sup>
                      </m:sSup>
                      <m:r>
                        <a:rPr lang="en-US" i="1">
                          <a:solidFill>
                            <a:srgbClr val="FF0000"/>
                          </a:solidFill>
                          <a:latin typeface="Cambria Math" panose="02040503050406030204" pitchFamily="18" charset="0"/>
                        </a:rPr>
                        <m:t>−</m:t>
                      </m:r>
                      <m:sSup>
                        <m:sSupPr>
                          <m:ctrlPr>
                            <a:rPr lang="en-US" i="1">
                              <a:solidFill>
                                <a:srgbClr val="FF0000"/>
                              </a:solidFill>
                              <a:latin typeface="Cambria Math" panose="02040503050406030204" pitchFamily="18" charset="0"/>
                            </a:rPr>
                          </m:ctrlPr>
                        </m:sSupPr>
                        <m:e>
                          <m:r>
                            <a:rPr lang="en-US" i="1">
                              <a:solidFill>
                                <a:srgbClr val="FF0000"/>
                              </a:solidFill>
                              <a:latin typeface="Cambria Math" panose="02040503050406030204" pitchFamily="18" charset="0"/>
                            </a:rPr>
                            <m:t>𝐸</m:t>
                          </m:r>
                        </m:e>
                        <m:sup>
                          <m:r>
                            <a:rPr lang="en-US" i="1">
                              <a:solidFill>
                                <a:srgbClr val="FF0000"/>
                              </a:solidFill>
                              <a:latin typeface="Cambria Math" panose="02040503050406030204" pitchFamily="18" charset="0"/>
                            </a:rPr>
                            <m:t>2</m:t>
                          </m:r>
                        </m:sup>
                      </m:sSup>
                      <m:d>
                        <m:dPr>
                          <m:begChr m:val="["/>
                          <m:endChr m:val="]"/>
                          <m:ctrlPr>
                            <a:rPr lang="en-US" i="1">
                              <a:solidFill>
                                <a:srgbClr val="FF0000"/>
                              </a:solidFill>
                              <a:latin typeface="Cambria Math" panose="02040503050406030204" pitchFamily="18" charset="0"/>
                            </a:rPr>
                          </m:ctrlPr>
                        </m:dPr>
                        <m:e>
                          <m:acc>
                            <m:accPr>
                              <m:chr m:val="̂"/>
                              <m:ctrlPr>
                                <a:rPr lang="en-US" i="1">
                                  <a:solidFill>
                                    <a:srgbClr val="FF0000"/>
                                  </a:solidFill>
                                  <a:latin typeface="Cambria Math" panose="02040503050406030204" pitchFamily="18" charset="0"/>
                                </a:rPr>
                              </m:ctrlPr>
                            </m:accPr>
                            <m:e>
                              <m:r>
                                <a:rPr lang="en-US" i="1">
                                  <a:solidFill>
                                    <a:srgbClr val="FF0000"/>
                                  </a:solidFill>
                                  <a:latin typeface="Cambria Math" panose="02040503050406030204" pitchFamily="18" charset="0"/>
                                </a:rPr>
                                <m:t>𝑓</m:t>
                              </m:r>
                            </m:e>
                          </m:acc>
                          <m:d>
                            <m:dPr>
                              <m:ctrlPr>
                                <a:rPr lang="en-US" i="1">
                                  <a:solidFill>
                                    <a:srgbClr val="FF0000"/>
                                  </a:solidFill>
                                  <a:latin typeface="Cambria Math" panose="02040503050406030204" pitchFamily="18" charset="0"/>
                                </a:rPr>
                              </m:ctrlPr>
                            </m:dPr>
                            <m:e>
                              <m:r>
                                <a:rPr lang="en-US" i="1">
                                  <a:solidFill>
                                    <a:srgbClr val="FF0000"/>
                                  </a:solidFill>
                                  <a:latin typeface="Cambria Math" panose="02040503050406030204" pitchFamily="18" charset="0"/>
                                </a:rPr>
                                <m:t>𝑋</m:t>
                              </m:r>
                            </m:e>
                          </m:d>
                        </m:e>
                      </m:d>
                    </m:oMath>
                  </m:oMathPara>
                </a14:m>
                <a:endParaRPr lang="en-US" dirty="0">
                  <a:solidFill>
                    <a:schemeClr val="tx2"/>
                  </a:solidFill>
                  <a:latin typeface="+mj-lt"/>
                </a:endParaRPr>
              </a:p>
              <a:p>
                <a:pPr marL="0" indent="0">
                  <a:spcBef>
                    <a:spcPts val="1200"/>
                  </a:spcBef>
                  <a:spcAft>
                    <a:spcPts val="0"/>
                  </a:spcAft>
                  <a:buNone/>
                </a:pPr>
                <a:endParaRPr lang="en-US" dirty="0">
                  <a:solidFill>
                    <a:schemeClr val="tx2"/>
                  </a:solidFill>
                  <a:latin typeface="+mj-lt"/>
                </a:endParaRPr>
              </a:p>
              <a:p>
                <a:pPr marL="0" indent="0">
                  <a:spcBef>
                    <a:spcPts val="1200"/>
                  </a:spcBef>
                  <a:spcAft>
                    <a:spcPts val="0"/>
                  </a:spcAft>
                  <a:buNone/>
                </a:pPr>
                <a14:m>
                  <m:oMathPara xmlns:m="http://schemas.openxmlformats.org/officeDocument/2006/math">
                    <m:oMathParaPr>
                      <m:jc m:val="centerGroup"/>
                    </m:oMathParaPr>
                    <m:oMath xmlns:m="http://schemas.openxmlformats.org/officeDocument/2006/math">
                      <m:r>
                        <a:rPr lang="en-US" sz="2000" i="1">
                          <a:solidFill>
                            <a:schemeClr val="tx2"/>
                          </a:solidFill>
                          <a:latin typeface="Cambria Math" panose="02040503050406030204" pitchFamily="18" charset="0"/>
                        </a:rPr>
                        <m:t>=</m:t>
                      </m:r>
                      <m:sSup>
                        <m:sSupPr>
                          <m:ctrlPr>
                            <a:rPr lang="en-US" sz="2000" i="1">
                              <a:solidFill>
                                <a:srgbClr val="FF0000"/>
                              </a:solidFill>
                              <a:latin typeface="Cambria Math" panose="02040503050406030204" pitchFamily="18" charset="0"/>
                            </a:rPr>
                          </m:ctrlPr>
                        </m:sSupPr>
                        <m:e>
                          <m:r>
                            <a:rPr lang="en-US" sz="2000" i="1" smtClean="0">
                              <a:solidFill>
                                <a:schemeClr val="accent4">
                                  <a:lumMod val="60000"/>
                                  <a:lumOff val="40000"/>
                                </a:schemeClr>
                              </a:solidFill>
                              <a:latin typeface="Cambria Math" panose="02040503050406030204" pitchFamily="18" charset="0"/>
                            </a:rPr>
                            <m:t>𝜎</m:t>
                          </m:r>
                        </m:e>
                        <m:sup>
                          <m:r>
                            <a:rPr lang="en-US" sz="2000" i="1" smtClean="0">
                              <a:solidFill>
                                <a:schemeClr val="accent4">
                                  <a:lumMod val="60000"/>
                                  <a:lumOff val="40000"/>
                                </a:schemeClr>
                              </a:solidFill>
                              <a:latin typeface="Cambria Math" panose="02040503050406030204" pitchFamily="18" charset="0"/>
                            </a:rPr>
                            <m:t>2</m:t>
                          </m:r>
                        </m:sup>
                      </m:sSup>
                      <m:r>
                        <a:rPr lang="en-US" sz="2000" i="1">
                          <a:solidFill>
                            <a:schemeClr val="tx2"/>
                          </a:solidFill>
                          <a:latin typeface="Cambria Math" panose="02040503050406030204" pitchFamily="18" charset="0"/>
                        </a:rPr>
                        <m:t>+</m:t>
                      </m:r>
                      <m:r>
                        <a:rPr lang="en-US" sz="2000" i="1">
                          <a:solidFill>
                            <a:schemeClr val="accent5"/>
                          </a:solidFill>
                          <a:latin typeface="Cambria Math" panose="02040503050406030204" pitchFamily="18" charset="0"/>
                        </a:rPr>
                        <m:t>𝐵𝑖𝑎𝑠</m:t>
                      </m:r>
                      <m:sSup>
                        <m:sSupPr>
                          <m:ctrlPr>
                            <a:rPr lang="en-US" sz="2000" i="1">
                              <a:solidFill>
                                <a:schemeClr val="accent5"/>
                              </a:solidFill>
                              <a:latin typeface="Cambria Math" panose="02040503050406030204" pitchFamily="18" charset="0"/>
                            </a:rPr>
                          </m:ctrlPr>
                        </m:sSupPr>
                        <m:e>
                          <m:d>
                            <m:dPr>
                              <m:ctrlPr>
                                <a:rPr lang="en-US" sz="2000" i="1">
                                  <a:solidFill>
                                    <a:schemeClr val="accent5"/>
                                  </a:solidFill>
                                  <a:latin typeface="Cambria Math" panose="02040503050406030204" pitchFamily="18" charset="0"/>
                                </a:rPr>
                              </m:ctrlPr>
                            </m:dPr>
                            <m:e>
                              <m:acc>
                                <m:accPr>
                                  <m:chr m:val="̂"/>
                                  <m:ctrlPr>
                                    <a:rPr lang="en-US" sz="2000" i="1">
                                      <a:solidFill>
                                        <a:schemeClr val="accent5"/>
                                      </a:solidFill>
                                      <a:latin typeface="Cambria Math" panose="02040503050406030204" pitchFamily="18" charset="0"/>
                                    </a:rPr>
                                  </m:ctrlPr>
                                </m:accPr>
                                <m:e>
                                  <m:r>
                                    <a:rPr lang="en-US" sz="2000" i="1">
                                      <a:solidFill>
                                        <a:schemeClr val="accent5"/>
                                      </a:solidFill>
                                      <a:latin typeface="Cambria Math" panose="02040503050406030204" pitchFamily="18" charset="0"/>
                                    </a:rPr>
                                    <m:t>𝑓</m:t>
                                  </m:r>
                                </m:e>
                              </m:acc>
                              <m:d>
                                <m:dPr>
                                  <m:ctrlPr>
                                    <a:rPr lang="en-US" sz="2000" i="1">
                                      <a:solidFill>
                                        <a:schemeClr val="accent5"/>
                                      </a:solidFill>
                                      <a:latin typeface="Cambria Math" panose="02040503050406030204" pitchFamily="18" charset="0"/>
                                    </a:rPr>
                                  </m:ctrlPr>
                                </m:dPr>
                                <m:e>
                                  <m:r>
                                    <a:rPr lang="en-US" sz="2000" i="1">
                                      <a:solidFill>
                                        <a:schemeClr val="accent5"/>
                                      </a:solidFill>
                                      <a:latin typeface="Cambria Math" panose="02040503050406030204" pitchFamily="18" charset="0"/>
                                    </a:rPr>
                                    <m:t>𝑥</m:t>
                                  </m:r>
                                </m:e>
                              </m:d>
                            </m:e>
                          </m:d>
                        </m:e>
                        <m:sup>
                          <m:r>
                            <a:rPr lang="en-US" sz="2000" i="1">
                              <a:solidFill>
                                <a:schemeClr val="accent5"/>
                              </a:solidFill>
                              <a:latin typeface="Cambria Math" panose="02040503050406030204" pitchFamily="18" charset="0"/>
                            </a:rPr>
                            <m:t>2</m:t>
                          </m:r>
                        </m:sup>
                      </m:sSup>
                      <m:r>
                        <a:rPr lang="en-US" sz="2000" i="1">
                          <a:solidFill>
                            <a:schemeClr val="tx2"/>
                          </a:solidFill>
                          <a:latin typeface="Cambria Math" panose="02040503050406030204" pitchFamily="18" charset="0"/>
                        </a:rPr>
                        <m:t>+</m:t>
                      </m:r>
                      <m:r>
                        <a:rPr lang="en-US" sz="2000" i="1" smtClean="0">
                          <a:solidFill>
                            <a:srgbClr val="FF0000"/>
                          </a:solidFill>
                          <a:latin typeface="Cambria Math" panose="02040503050406030204" pitchFamily="18" charset="0"/>
                        </a:rPr>
                        <m:t>𝑉𝑎𝑟𝑖𝑎𝑛𝑐𝑒</m:t>
                      </m:r>
                      <m:d>
                        <m:dPr>
                          <m:ctrlPr>
                            <a:rPr lang="en-US" sz="2000" i="1">
                              <a:solidFill>
                                <a:srgbClr val="FF0000"/>
                              </a:solidFill>
                              <a:latin typeface="Cambria Math" panose="02040503050406030204" pitchFamily="18" charset="0"/>
                            </a:rPr>
                          </m:ctrlPr>
                        </m:dPr>
                        <m:e>
                          <m:acc>
                            <m:accPr>
                              <m:chr m:val="̂"/>
                              <m:ctrlPr>
                                <a:rPr lang="en-US" sz="2000" i="1">
                                  <a:solidFill>
                                    <a:srgbClr val="FF0000"/>
                                  </a:solidFill>
                                  <a:latin typeface="Cambria Math" panose="02040503050406030204" pitchFamily="18" charset="0"/>
                                </a:rPr>
                              </m:ctrlPr>
                            </m:accPr>
                            <m:e>
                              <m:r>
                                <a:rPr lang="en-US" sz="2000" i="1">
                                  <a:solidFill>
                                    <a:srgbClr val="FF0000"/>
                                  </a:solidFill>
                                  <a:latin typeface="Cambria Math" panose="02040503050406030204" pitchFamily="18" charset="0"/>
                                </a:rPr>
                                <m:t>𝑓</m:t>
                              </m:r>
                            </m:e>
                          </m:acc>
                          <m:d>
                            <m:dPr>
                              <m:ctrlPr>
                                <a:rPr lang="en-US" sz="2000" i="1">
                                  <a:solidFill>
                                    <a:srgbClr val="FF0000"/>
                                  </a:solidFill>
                                  <a:latin typeface="Cambria Math" panose="02040503050406030204" pitchFamily="18" charset="0"/>
                                </a:rPr>
                              </m:ctrlPr>
                            </m:dPr>
                            <m:e>
                              <m:r>
                                <a:rPr lang="en-US" sz="2000" i="1">
                                  <a:solidFill>
                                    <a:srgbClr val="FF0000"/>
                                  </a:solidFill>
                                  <a:latin typeface="Cambria Math" panose="02040503050406030204" pitchFamily="18" charset="0"/>
                                </a:rPr>
                                <m:t>𝑋</m:t>
                              </m:r>
                            </m:e>
                          </m:d>
                        </m:e>
                      </m:d>
                    </m:oMath>
                  </m:oMathPara>
                </a14:m>
                <a:endParaRPr lang="en-US" sz="2000" dirty="0">
                  <a:solidFill>
                    <a:schemeClr val="tx2"/>
                  </a:solidFill>
                  <a:latin typeface="+mj-lt"/>
                </a:endParaRPr>
              </a:p>
              <a:p>
                <a:pPr marL="173736" indent="-173736">
                  <a:spcBef>
                    <a:spcPts val="1200"/>
                  </a:spcBef>
                  <a:spcAft>
                    <a:spcPts val="0"/>
                  </a:spcAft>
                  <a:buClr>
                    <a:schemeClr val="tx2"/>
                  </a:buClr>
                </a:pPr>
                <a:r>
                  <a:rPr lang="en-US" sz="2000" dirty="0">
                    <a:solidFill>
                      <a:schemeClr val="tx2"/>
                    </a:solidFill>
                    <a:latin typeface="+mj-lt"/>
                  </a:rPr>
                  <a:t>Reducing explanatory error (i.e., fitting the data you have) is trivial.</a:t>
                </a:r>
              </a:p>
              <a:p>
                <a:pPr marL="173736" indent="-173736">
                  <a:spcBef>
                    <a:spcPts val="1200"/>
                  </a:spcBef>
                  <a:spcAft>
                    <a:spcPts val="0"/>
                  </a:spcAft>
                  <a:buClr>
                    <a:schemeClr val="tx2"/>
                  </a:buClr>
                </a:pPr>
                <a:r>
                  <a:rPr lang="en-US" sz="2000" dirty="0">
                    <a:solidFill>
                      <a:schemeClr val="tx2"/>
                    </a:solidFill>
                    <a:latin typeface="+mj-lt"/>
                  </a:rPr>
                  <a:t>If our goal is to minimize prediction error for future observations, we might want to choose methods that accept some bias in exchange for a reduction in variance</a:t>
                </a:r>
              </a:p>
            </p:txBody>
          </p:sp>
        </mc:Choice>
        <mc:Fallback>
          <p:sp>
            <p:nvSpPr>
              <p:cNvPr id="23" name="Content Placeholder 2"/>
              <p:cNvSpPr txBox="1">
                <a:spLocks noRot="1" noChangeAspect="1" noMove="1" noResize="1" noEditPoints="1" noAdjustHandles="1" noChangeArrowheads="1" noChangeShapeType="1" noTextEdit="1"/>
              </p:cNvSpPr>
              <p:nvPr/>
            </p:nvSpPr>
            <p:spPr>
              <a:xfrm>
                <a:off x="550696" y="1799740"/>
                <a:ext cx="6194783" cy="4172786"/>
              </a:xfrm>
              <a:prstGeom prst="rect">
                <a:avLst/>
              </a:prstGeom>
              <a:blipFill>
                <a:blip r:embed="rId2"/>
                <a:stretch>
                  <a:fillRect l="-885" t="-730"/>
                </a:stretch>
              </a:blipFill>
              <a:ln w="12700">
                <a:noFill/>
              </a:ln>
            </p:spPr>
            <p:txBody>
              <a:bodyPr/>
              <a:lstStyle/>
              <a:p>
                <a:r>
                  <a:rPr lang="en-US">
                    <a:noFill/>
                  </a:rPr>
                  <a:t> </a:t>
                </a:r>
              </a:p>
            </p:txBody>
          </p:sp>
        </mc:Fallback>
      </mc:AlternateContent>
      <p:grpSp>
        <p:nvGrpSpPr>
          <p:cNvPr id="33" name="Group 32">
            <a:extLst>
              <a:ext uri="{FF2B5EF4-FFF2-40B4-BE49-F238E27FC236}">
                <a16:creationId xmlns:a16="http://schemas.microsoft.com/office/drawing/2014/main" id="{A9D373B9-818D-4BDC-92E5-1563BCB86B8A}"/>
              </a:ext>
            </a:extLst>
          </p:cNvPr>
          <p:cNvGrpSpPr/>
          <p:nvPr/>
        </p:nvGrpSpPr>
        <p:grpSpPr>
          <a:xfrm>
            <a:off x="6759065" y="1613382"/>
            <a:ext cx="5039019" cy="4714417"/>
            <a:chOff x="6759065" y="1613382"/>
            <a:chExt cx="5039019" cy="4714417"/>
          </a:xfrm>
        </p:grpSpPr>
        <p:sp>
          <p:nvSpPr>
            <p:cNvPr id="4" name="Freeform: Shape 3"/>
            <p:cNvSpPr/>
            <p:nvPr/>
          </p:nvSpPr>
          <p:spPr>
            <a:xfrm>
              <a:off x="7394086" y="2570896"/>
              <a:ext cx="3254466" cy="2874544"/>
            </a:xfrm>
            <a:custGeom>
              <a:avLst/>
              <a:gdLst>
                <a:gd name="connsiteX0" fmla="*/ 0 w 3575050"/>
                <a:gd name="connsiteY0" fmla="*/ 0 h 2730500"/>
                <a:gd name="connsiteX1" fmla="*/ 971550 w 3575050"/>
                <a:gd name="connsiteY1" fmla="*/ 1809750 h 2730500"/>
                <a:gd name="connsiteX2" fmla="*/ 3575050 w 3575050"/>
                <a:gd name="connsiteY2" fmla="*/ 2730500 h 2730500"/>
                <a:gd name="connsiteX3" fmla="*/ 3575050 w 3575050"/>
                <a:gd name="connsiteY3" fmla="*/ 2730500 h 2730500"/>
              </a:gdLst>
              <a:ahLst/>
              <a:cxnLst>
                <a:cxn ang="0">
                  <a:pos x="connsiteX0" y="connsiteY0"/>
                </a:cxn>
                <a:cxn ang="0">
                  <a:pos x="connsiteX1" y="connsiteY1"/>
                </a:cxn>
                <a:cxn ang="0">
                  <a:pos x="connsiteX2" y="connsiteY2"/>
                </a:cxn>
                <a:cxn ang="0">
                  <a:pos x="connsiteX3" y="connsiteY3"/>
                </a:cxn>
              </a:cxnLst>
              <a:rect l="l" t="t" r="r" b="b"/>
              <a:pathLst>
                <a:path w="3575050" h="2730500">
                  <a:moveTo>
                    <a:pt x="0" y="0"/>
                  </a:moveTo>
                  <a:cubicBezTo>
                    <a:pt x="187854" y="677333"/>
                    <a:pt x="375708" y="1354667"/>
                    <a:pt x="971550" y="1809750"/>
                  </a:cubicBezTo>
                  <a:cubicBezTo>
                    <a:pt x="1567392" y="2264833"/>
                    <a:pt x="3575050" y="2730500"/>
                    <a:pt x="3575050" y="2730500"/>
                  </a:cubicBezTo>
                  <a:lnTo>
                    <a:pt x="3575050" y="273050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04894" y="5542185"/>
              <a:ext cx="1896417" cy="325452"/>
            </a:xfrm>
            <a:prstGeom prst="rect">
              <a:avLst/>
            </a:prstGeom>
            <a:noFill/>
          </p:spPr>
          <p:txBody>
            <a:bodyPr wrap="none" rtlCol="0">
              <a:noAutofit/>
            </a:bodyPr>
            <a:lstStyle/>
            <a:p>
              <a:pPr algn="ctr"/>
              <a:r>
                <a:rPr lang="en-US" sz="1600" dirty="0"/>
                <a:t>Model Complexity</a:t>
              </a:r>
            </a:p>
          </p:txBody>
        </p:sp>
        <p:sp>
          <p:nvSpPr>
            <p:cNvPr id="8" name="TextBox 7"/>
            <p:cNvSpPr txBox="1"/>
            <p:nvPr/>
          </p:nvSpPr>
          <p:spPr>
            <a:xfrm>
              <a:off x="7111601" y="5580867"/>
              <a:ext cx="440570" cy="276999"/>
            </a:xfrm>
            <a:prstGeom prst="rect">
              <a:avLst/>
            </a:prstGeom>
            <a:noFill/>
          </p:spPr>
          <p:txBody>
            <a:bodyPr wrap="none" rtlCol="0">
              <a:spAutoFit/>
            </a:bodyPr>
            <a:lstStyle/>
            <a:p>
              <a:r>
                <a:rPr lang="en-US" sz="1200" dirty="0"/>
                <a:t>Low</a:t>
              </a:r>
            </a:p>
          </p:txBody>
        </p:sp>
        <p:sp>
          <p:nvSpPr>
            <p:cNvPr id="9" name="TextBox 8"/>
            <p:cNvSpPr txBox="1"/>
            <p:nvPr/>
          </p:nvSpPr>
          <p:spPr>
            <a:xfrm>
              <a:off x="10263743" y="5580867"/>
              <a:ext cx="468398" cy="276999"/>
            </a:xfrm>
            <a:prstGeom prst="rect">
              <a:avLst/>
            </a:prstGeom>
            <a:noFill/>
          </p:spPr>
          <p:txBody>
            <a:bodyPr wrap="none" rtlCol="0">
              <a:spAutoFit/>
            </a:bodyPr>
            <a:lstStyle/>
            <a:p>
              <a:r>
                <a:rPr lang="en-US" sz="1200" dirty="0"/>
                <a:t>High</a:t>
              </a:r>
            </a:p>
          </p:txBody>
        </p:sp>
        <p:cxnSp>
          <p:nvCxnSpPr>
            <p:cNvPr id="11" name="Straight Connector 10"/>
            <p:cNvCxnSpPr>
              <a:cxnSpLocks/>
            </p:cNvCxnSpPr>
            <p:nvPr/>
          </p:nvCxnSpPr>
          <p:spPr>
            <a:xfrm>
              <a:off x="7311626" y="5241732"/>
              <a:ext cx="3282950" cy="0"/>
            </a:xfrm>
            <a:prstGeom prst="line">
              <a:avLst/>
            </a:prstGeom>
            <a:ln w="12700">
              <a:solidFill>
                <a:srgbClr val="D1B65F"/>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246135" y="4977667"/>
              <a:ext cx="1499109" cy="292547"/>
            </a:xfrm>
            <a:prstGeom prst="rect">
              <a:avLst/>
            </a:prstGeom>
            <a:noFill/>
          </p:spPr>
          <p:txBody>
            <a:bodyPr wrap="square" tIns="45720" rtlCol="0" anchor="ctr" anchorCtr="0">
              <a:noAutofit/>
            </a:bodyPr>
            <a:lstStyle/>
            <a:p>
              <a:pPr algn="ctr"/>
              <a:r>
                <a:rPr lang="en-US" sz="1200" dirty="0">
                  <a:solidFill>
                    <a:schemeClr val="accent4">
                      <a:lumMod val="60000"/>
                      <a:lumOff val="40000"/>
                    </a:schemeClr>
                  </a:solidFill>
                </a:rPr>
                <a:t>Irreducible Error </a:t>
              </a:r>
              <a:r>
                <a:rPr lang="en-US" sz="1200" dirty="0">
                  <a:solidFill>
                    <a:schemeClr val="accent4">
                      <a:lumMod val="60000"/>
                      <a:lumOff val="40000"/>
                    </a:schemeClr>
                  </a:solidFill>
                  <a:latin typeface="Symbol" panose="05050102010706020507" pitchFamily="18" charset="2"/>
                </a:rPr>
                <a:t>s</a:t>
              </a:r>
              <a:r>
                <a:rPr lang="en-US" sz="1200" baseline="30000" dirty="0">
                  <a:solidFill>
                    <a:schemeClr val="accent4">
                      <a:lumMod val="60000"/>
                      <a:lumOff val="40000"/>
                    </a:schemeClr>
                  </a:solidFill>
                </a:rPr>
                <a:t>2</a:t>
              </a:r>
              <a:r>
                <a:rPr lang="en-US" sz="1200" dirty="0">
                  <a:solidFill>
                    <a:schemeClr val="accent4">
                      <a:lumMod val="60000"/>
                      <a:lumOff val="40000"/>
                    </a:schemeClr>
                  </a:solidFill>
                </a:rPr>
                <a:t> </a:t>
              </a:r>
            </a:p>
          </p:txBody>
        </p:sp>
        <p:sp>
          <p:nvSpPr>
            <p:cNvPr id="14" name="TextBox 13"/>
            <p:cNvSpPr txBox="1"/>
            <p:nvPr/>
          </p:nvSpPr>
          <p:spPr>
            <a:xfrm rot="16200000">
              <a:off x="6544717" y="3574559"/>
              <a:ext cx="1416671" cy="338554"/>
            </a:xfrm>
            <a:prstGeom prst="rect">
              <a:avLst/>
            </a:prstGeom>
            <a:noFill/>
          </p:spPr>
          <p:txBody>
            <a:bodyPr wrap="none" rtlCol="0">
              <a:spAutoFit/>
            </a:bodyPr>
            <a:lstStyle/>
            <a:p>
              <a:pPr algn="ctr"/>
              <a:r>
                <a:rPr lang="en-US" sz="1600" dirty="0"/>
                <a:t>Expected Error</a:t>
              </a:r>
            </a:p>
          </p:txBody>
        </p:sp>
        <p:sp>
          <p:nvSpPr>
            <p:cNvPr id="16" name="TextBox 15"/>
            <p:cNvSpPr txBox="1"/>
            <p:nvPr/>
          </p:nvSpPr>
          <p:spPr>
            <a:xfrm>
              <a:off x="8532602" y="4434572"/>
              <a:ext cx="1338667" cy="329116"/>
            </a:xfrm>
            <a:prstGeom prst="rect">
              <a:avLst/>
            </a:prstGeom>
            <a:noFill/>
          </p:spPr>
          <p:txBody>
            <a:bodyPr wrap="square" tIns="45720" rtlCol="0" anchor="ctr" anchorCtr="0">
              <a:noAutofit/>
            </a:bodyPr>
            <a:lstStyle/>
            <a:p>
              <a:pPr algn="ctr"/>
              <a:r>
                <a:rPr lang="en-US" sz="1200" dirty="0">
                  <a:solidFill>
                    <a:schemeClr val="accent1">
                      <a:lumMod val="75000"/>
                    </a:schemeClr>
                  </a:solidFill>
                </a:rPr>
                <a:t>Training Sample</a:t>
              </a:r>
            </a:p>
          </p:txBody>
        </p:sp>
        <p:sp>
          <p:nvSpPr>
            <p:cNvPr id="18" name="TextBox 17"/>
            <p:cNvSpPr txBox="1"/>
            <p:nvPr/>
          </p:nvSpPr>
          <p:spPr>
            <a:xfrm>
              <a:off x="7137002" y="1688840"/>
              <a:ext cx="1338667" cy="475390"/>
            </a:xfrm>
            <a:prstGeom prst="rect">
              <a:avLst/>
            </a:prstGeom>
            <a:noFill/>
          </p:spPr>
          <p:txBody>
            <a:bodyPr wrap="square" rtlCol="0">
              <a:spAutoFit/>
            </a:bodyPr>
            <a:lstStyle/>
            <a:p>
              <a:r>
                <a:rPr lang="en-US" sz="1200" dirty="0"/>
                <a:t>Higher Bias</a:t>
              </a:r>
            </a:p>
            <a:p>
              <a:r>
                <a:rPr lang="en-US" sz="1200" dirty="0"/>
                <a:t>Low Variance</a:t>
              </a:r>
            </a:p>
          </p:txBody>
        </p:sp>
        <p:sp>
          <p:nvSpPr>
            <p:cNvPr id="19" name="Arrow: Right 18"/>
            <p:cNvSpPr/>
            <p:nvPr/>
          </p:nvSpPr>
          <p:spPr>
            <a:xfrm rot="10800000">
              <a:off x="7238601" y="2168438"/>
              <a:ext cx="360482" cy="5432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9411342" y="1688840"/>
              <a:ext cx="1338667" cy="475390"/>
            </a:xfrm>
            <a:prstGeom prst="rect">
              <a:avLst/>
            </a:prstGeom>
            <a:noFill/>
          </p:spPr>
          <p:txBody>
            <a:bodyPr wrap="square" rtlCol="0">
              <a:spAutoFit/>
            </a:bodyPr>
            <a:lstStyle/>
            <a:p>
              <a:pPr algn="r"/>
              <a:r>
                <a:rPr lang="en-US" sz="1200" dirty="0"/>
                <a:t>Lower Bias</a:t>
              </a:r>
            </a:p>
            <a:p>
              <a:pPr algn="r"/>
              <a:r>
                <a:rPr lang="en-US" sz="1200" dirty="0"/>
                <a:t>High Variance</a:t>
              </a:r>
            </a:p>
          </p:txBody>
        </p:sp>
        <p:sp>
          <p:nvSpPr>
            <p:cNvPr id="21" name="Arrow: Right 20"/>
            <p:cNvSpPr/>
            <p:nvPr/>
          </p:nvSpPr>
          <p:spPr>
            <a:xfrm>
              <a:off x="10281719" y="2168439"/>
              <a:ext cx="360482" cy="5432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759065" y="6081578"/>
              <a:ext cx="5039019" cy="246221"/>
            </a:xfrm>
            <a:prstGeom prst="rect">
              <a:avLst/>
            </a:prstGeom>
            <a:noFill/>
          </p:spPr>
          <p:txBody>
            <a:bodyPr wrap="square" rtlCol="0">
              <a:spAutoFit/>
            </a:bodyPr>
            <a:lstStyle/>
            <a:p>
              <a:r>
                <a:rPr lang="en-US" sz="1000" dirty="0">
                  <a:solidFill>
                    <a:schemeClr val="tx2"/>
                  </a:solidFill>
                </a:rPr>
                <a:t>Adapted from Hastie, </a:t>
              </a:r>
              <a:r>
                <a:rPr lang="en-US" sz="1000" dirty="0" err="1">
                  <a:solidFill>
                    <a:schemeClr val="tx2"/>
                  </a:solidFill>
                </a:rPr>
                <a:t>Tibshirani</a:t>
              </a:r>
              <a:r>
                <a:rPr lang="en-US" sz="1000" dirty="0">
                  <a:solidFill>
                    <a:schemeClr val="tx2"/>
                  </a:solidFill>
                </a:rPr>
                <a:t> and Friedman </a:t>
              </a:r>
              <a:r>
                <a:rPr lang="en-US" sz="1000" i="1" dirty="0">
                  <a:solidFill>
                    <a:schemeClr val="tx2"/>
                  </a:solidFill>
                </a:rPr>
                <a:t>Elements of Statistical Learning, </a:t>
              </a:r>
              <a:r>
                <a:rPr lang="en-US" sz="1000" dirty="0">
                  <a:solidFill>
                    <a:schemeClr val="tx2"/>
                  </a:solidFill>
                </a:rPr>
                <a:t>2001</a:t>
              </a:r>
              <a:r>
                <a:rPr lang="en-US" sz="1000" i="1" dirty="0">
                  <a:solidFill>
                    <a:schemeClr val="tx2"/>
                  </a:solidFill>
                </a:rPr>
                <a:t>, </a:t>
              </a:r>
              <a:r>
                <a:rPr lang="en-US" sz="1000" dirty="0">
                  <a:solidFill>
                    <a:schemeClr val="tx2"/>
                  </a:solidFill>
                </a:rPr>
                <a:t>p. 38</a:t>
              </a:r>
            </a:p>
          </p:txBody>
        </p:sp>
        <p:cxnSp>
          <p:nvCxnSpPr>
            <p:cNvPr id="10" name="Straight Connector 9">
              <a:extLst>
                <a:ext uri="{FF2B5EF4-FFF2-40B4-BE49-F238E27FC236}">
                  <a16:creationId xmlns:a16="http://schemas.microsoft.com/office/drawing/2014/main" id="{A6076922-E7A6-448F-9EC8-8CF2C5E1B598}"/>
                </a:ext>
              </a:extLst>
            </p:cNvPr>
            <p:cNvCxnSpPr>
              <a:cxnSpLocks/>
            </p:cNvCxnSpPr>
            <p:nvPr/>
          </p:nvCxnSpPr>
          <p:spPr>
            <a:xfrm>
              <a:off x="6992040" y="1613382"/>
              <a:ext cx="0" cy="3919129"/>
            </a:xfrm>
            <a:prstGeom prst="line">
              <a:avLst/>
            </a:prstGeom>
            <a:ln w="19050">
              <a:solidFill>
                <a:srgbClr val="A4AAAD"/>
              </a:solidFill>
              <a:head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09D0E57-A489-4BF1-9E51-2100AD12D761}"/>
                </a:ext>
              </a:extLst>
            </p:cNvPr>
            <p:cNvCxnSpPr>
              <a:cxnSpLocks/>
            </p:cNvCxnSpPr>
            <p:nvPr/>
          </p:nvCxnSpPr>
          <p:spPr>
            <a:xfrm>
              <a:off x="6992040" y="5532511"/>
              <a:ext cx="4072818" cy="0"/>
            </a:xfrm>
            <a:prstGeom prst="straightConnector1">
              <a:avLst/>
            </a:prstGeom>
            <a:ln w="19050">
              <a:solidFill>
                <a:srgbClr val="A4AAAD"/>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8810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xEl>
                                              <p:pRg st="6" end="6"/>
                                            </p:txEl>
                                          </p:spTgt>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nodeType="afterEffect">
                                  <p:stCondLst>
                                    <p:cond delay="2500"/>
                                  </p:stCondLst>
                                  <p:childTnLst>
                                    <p:set>
                                      <p:cBhvr>
                                        <p:cTn id="31"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B554E1-A322-455D-912C-98AED3597D65}"/>
              </a:ext>
            </a:extLst>
          </p:cNvPr>
          <p:cNvSpPr/>
          <p:nvPr/>
        </p:nvSpPr>
        <p:spPr>
          <a:xfrm>
            <a:off x="3634509" y="2326446"/>
            <a:ext cx="4142509" cy="2062103"/>
          </a:xfrm>
          <a:prstGeom prst="rect">
            <a:avLst/>
          </a:prstGeom>
        </p:spPr>
        <p:txBody>
          <a:bodyPr wrap="square">
            <a:spAutoFit/>
          </a:bodyPr>
          <a:lstStyle/>
          <a:p>
            <a:r>
              <a:rPr lang="en-US" sz="3200" dirty="0"/>
              <a:t>"Prediction is very difficult, especially if it's about the future."</a:t>
            </a:r>
          </a:p>
          <a:p>
            <a:r>
              <a:rPr lang="en-US" sz="3200" dirty="0"/>
              <a:t>		--Niels Bohr</a:t>
            </a:r>
          </a:p>
        </p:txBody>
      </p:sp>
    </p:spTree>
    <p:extLst>
      <p:ext uri="{BB962C8B-B14F-4D97-AF65-F5344CB8AC3E}">
        <p14:creationId xmlns:p14="http://schemas.microsoft.com/office/powerpoint/2010/main" val="2795352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EB6E9A9-6100-4C3F-90CE-F5F5EBA47250}"/>
              </a:ext>
            </a:extLst>
          </p:cNvPr>
          <p:cNvSpPr>
            <a:spLocks noGrp="1"/>
          </p:cNvSpPr>
          <p:nvPr>
            <p:ph type="title"/>
          </p:nvPr>
        </p:nvSpPr>
        <p:spPr>
          <a:xfrm>
            <a:off x="524256" y="4767072"/>
            <a:ext cx="6594189" cy="1625210"/>
          </a:xfrm>
        </p:spPr>
        <p:txBody>
          <a:bodyPr vert="horz" lIns="91440" tIns="45720" rIns="91440" bIns="45720" rtlCol="0" anchor="ctr">
            <a:normAutofit/>
          </a:bodyPr>
          <a:lstStyle/>
          <a:p>
            <a:pPr algn="r"/>
            <a:r>
              <a:rPr lang="en-US" dirty="0">
                <a:solidFill>
                  <a:srgbClr val="FFFFFF"/>
                </a:solidFill>
              </a:rPr>
              <a:t>A simulated dataset</a:t>
            </a:r>
          </a:p>
        </p:txBody>
      </p:sp>
      <p:pic>
        <p:nvPicPr>
          <p:cNvPr id="5" name="Picture 4">
            <a:extLst>
              <a:ext uri="{FF2B5EF4-FFF2-40B4-BE49-F238E27FC236}">
                <a16:creationId xmlns:a16="http://schemas.microsoft.com/office/drawing/2014/main" id="{F20779D2-7F6A-411B-A975-BC98131861C5}"/>
              </a:ext>
            </a:extLst>
          </p:cNvPr>
          <p:cNvPicPr>
            <a:picLocks noChangeAspect="1"/>
          </p:cNvPicPr>
          <p:nvPr/>
        </p:nvPicPr>
        <p:blipFill rotWithShape="1">
          <a:blip r:embed="rId2"/>
          <a:srcRect r="8061" b="-2"/>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Arrow: Right 7">
            <a:extLst>
              <a:ext uri="{FF2B5EF4-FFF2-40B4-BE49-F238E27FC236}">
                <a16:creationId xmlns:a16="http://schemas.microsoft.com/office/drawing/2014/main" id="{53127CC6-01AE-4511-9168-0E3A8EEA3BBF}"/>
              </a:ext>
            </a:extLst>
          </p:cNvPr>
          <p:cNvSpPr/>
          <p:nvPr/>
        </p:nvSpPr>
        <p:spPr>
          <a:xfrm rot="10800000">
            <a:off x="7534655" y="1134879"/>
            <a:ext cx="3972903" cy="4588240"/>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Freeform: Shape 8">
            <a:extLst>
              <a:ext uri="{FF2B5EF4-FFF2-40B4-BE49-F238E27FC236}">
                <a16:creationId xmlns:a16="http://schemas.microsoft.com/office/drawing/2014/main" id="{F627B349-433E-4D76-A343-57031F2F3CFA}"/>
              </a:ext>
            </a:extLst>
          </p:cNvPr>
          <p:cNvSpPr/>
          <p:nvPr/>
        </p:nvSpPr>
        <p:spPr>
          <a:xfrm>
            <a:off x="7717996" y="2403163"/>
            <a:ext cx="956368" cy="1957795"/>
          </a:xfrm>
          <a:custGeom>
            <a:avLst/>
            <a:gdLst>
              <a:gd name="connsiteX0" fmla="*/ 0 w 956368"/>
              <a:gd name="connsiteY0" fmla="*/ 159398 h 1957795"/>
              <a:gd name="connsiteX1" fmla="*/ 159398 w 956368"/>
              <a:gd name="connsiteY1" fmla="*/ 0 h 1957795"/>
              <a:gd name="connsiteX2" fmla="*/ 796970 w 956368"/>
              <a:gd name="connsiteY2" fmla="*/ 0 h 1957795"/>
              <a:gd name="connsiteX3" fmla="*/ 956368 w 956368"/>
              <a:gd name="connsiteY3" fmla="*/ 159398 h 1957795"/>
              <a:gd name="connsiteX4" fmla="*/ 956368 w 956368"/>
              <a:gd name="connsiteY4" fmla="*/ 1798397 h 1957795"/>
              <a:gd name="connsiteX5" fmla="*/ 796970 w 956368"/>
              <a:gd name="connsiteY5" fmla="*/ 1957795 h 1957795"/>
              <a:gd name="connsiteX6" fmla="*/ 159398 w 956368"/>
              <a:gd name="connsiteY6" fmla="*/ 1957795 h 1957795"/>
              <a:gd name="connsiteX7" fmla="*/ 0 w 956368"/>
              <a:gd name="connsiteY7" fmla="*/ 1798397 h 1957795"/>
              <a:gd name="connsiteX8" fmla="*/ 0 w 956368"/>
              <a:gd name="connsiteY8" fmla="*/ 159398 h 195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6368" h="1957795">
                <a:moveTo>
                  <a:pt x="0" y="159398"/>
                </a:moveTo>
                <a:cubicBezTo>
                  <a:pt x="0" y="71365"/>
                  <a:pt x="71365" y="0"/>
                  <a:pt x="159398" y="0"/>
                </a:cubicBezTo>
                <a:lnTo>
                  <a:pt x="796970" y="0"/>
                </a:lnTo>
                <a:cubicBezTo>
                  <a:pt x="885003" y="0"/>
                  <a:pt x="956368" y="71365"/>
                  <a:pt x="956368" y="159398"/>
                </a:cubicBezTo>
                <a:lnTo>
                  <a:pt x="956368" y="1798397"/>
                </a:lnTo>
                <a:cubicBezTo>
                  <a:pt x="956368" y="1886430"/>
                  <a:pt x="885003" y="1957795"/>
                  <a:pt x="796970" y="1957795"/>
                </a:cubicBezTo>
                <a:lnTo>
                  <a:pt x="159398" y="1957795"/>
                </a:lnTo>
                <a:cubicBezTo>
                  <a:pt x="71365" y="1957795"/>
                  <a:pt x="0" y="1886430"/>
                  <a:pt x="0" y="1798397"/>
                </a:cubicBezTo>
                <a:lnTo>
                  <a:pt x="0" y="15939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786" tIns="84786" rIns="84786" bIns="84786" numCol="1" spcCol="1270" anchor="ctr" anchorCtr="0">
            <a:noAutofit/>
          </a:bodyPr>
          <a:lstStyle/>
          <a:p>
            <a:pPr marL="0" lvl="0" indent="0" algn="ctr" defTabSz="444500">
              <a:lnSpc>
                <a:spcPct val="90000"/>
              </a:lnSpc>
              <a:spcBef>
                <a:spcPct val="0"/>
              </a:spcBef>
              <a:spcAft>
                <a:spcPct val="35000"/>
              </a:spcAft>
              <a:buNone/>
            </a:pPr>
            <a:r>
              <a:rPr lang="en-US" sz="1000" kern="1200"/>
              <a:t>To demonstrate different machine learning approaches, we will be using a simulated dataset.</a:t>
            </a:r>
          </a:p>
        </p:txBody>
      </p:sp>
      <p:sp>
        <p:nvSpPr>
          <p:cNvPr id="11" name="Freeform: Shape 10">
            <a:extLst>
              <a:ext uri="{FF2B5EF4-FFF2-40B4-BE49-F238E27FC236}">
                <a16:creationId xmlns:a16="http://schemas.microsoft.com/office/drawing/2014/main" id="{B5994A44-C86F-47BE-A535-AC09F8A72AA8}"/>
              </a:ext>
            </a:extLst>
          </p:cNvPr>
          <p:cNvSpPr/>
          <p:nvPr/>
        </p:nvSpPr>
        <p:spPr>
          <a:xfrm>
            <a:off x="8722183" y="2403163"/>
            <a:ext cx="956368" cy="1957795"/>
          </a:xfrm>
          <a:custGeom>
            <a:avLst/>
            <a:gdLst>
              <a:gd name="connsiteX0" fmla="*/ 0 w 956368"/>
              <a:gd name="connsiteY0" fmla="*/ 159398 h 1957795"/>
              <a:gd name="connsiteX1" fmla="*/ 159398 w 956368"/>
              <a:gd name="connsiteY1" fmla="*/ 0 h 1957795"/>
              <a:gd name="connsiteX2" fmla="*/ 796970 w 956368"/>
              <a:gd name="connsiteY2" fmla="*/ 0 h 1957795"/>
              <a:gd name="connsiteX3" fmla="*/ 956368 w 956368"/>
              <a:gd name="connsiteY3" fmla="*/ 159398 h 1957795"/>
              <a:gd name="connsiteX4" fmla="*/ 956368 w 956368"/>
              <a:gd name="connsiteY4" fmla="*/ 1798397 h 1957795"/>
              <a:gd name="connsiteX5" fmla="*/ 796970 w 956368"/>
              <a:gd name="connsiteY5" fmla="*/ 1957795 h 1957795"/>
              <a:gd name="connsiteX6" fmla="*/ 159398 w 956368"/>
              <a:gd name="connsiteY6" fmla="*/ 1957795 h 1957795"/>
              <a:gd name="connsiteX7" fmla="*/ 0 w 956368"/>
              <a:gd name="connsiteY7" fmla="*/ 1798397 h 1957795"/>
              <a:gd name="connsiteX8" fmla="*/ 0 w 956368"/>
              <a:gd name="connsiteY8" fmla="*/ 159398 h 195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6368" h="1957795">
                <a:moveTo>
                  <a:pt x="0" y="159398"/>
                </a:moveTo>
                <a:cubicBezTo>
                  <a:pt x="0" y="71365"/>
                  <a:pt x="71365" y="0"/>
                  <a:pt x="159398" y="0"/>
                </a:cubicBezTo>
                <a:lnTo>
                  <a:pt x="796970" y="0"/>
                </a:lnTo>
                <a:cubicBezTo>
                  <a:pt x="885003" y="0"/>
                  <a:pt x="956368" y="71365"/>
                  <a:pt x="956368" y="159398"/>
                </a:cubicBezTo>
                <a:lnTo>
                  <a:pt x="956368" y="1798397"/>
                </a:lnTo>
                <a:cubicBezTo>
                  <a:pt x="956368" y="1886430"/>
                  <a:pt x="885003" y="1957795"/>
                  <a:pt x="796970" y="1957795"/>
                </a:cubicBezTo>
                <a:lnTo>
                  <a:pt x="159398" y="1957795"/>
                </a:lnTo>
                <a:cubicBezTo>
                  <a:pt x="71365" y="1957795"/>
                  <a:pt x="0" y="1886430"/>
                  <a:pt x="0" y="1798397"/>
                </a:cubicBezTo>
                <a:lnTo>
                  <a:pt x="0" y="15939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786" tIns="84786" rIns="84786" bIns="84786" numCol="1" spcCol="1270" anchor="t" anchorCtr="0">
            <a:noAutofit/>
          </a:bodyPr>
          <a:lstStyle/>
          <a:p>
            <a:pPr marL="0" lvl="0" indent="0" algn="l" defTabSz="444500">
              <a:lnSpc>
                <a:spcPct val="90000"/>
              </a:lnSpc>
              <a:spcBef>
                <a:spcPct val="0"/>
              </a:spcBef>
              <a:spcAft>
                <a:spcPct val="35000"/>
              </a:spcAft>
              <a:buNone/>
            </a:pPr>
            <a:endParaRPr lang="en-US" sz="1000" kern="1200" dirty="0"/>
          </a:p>
          <a:p>
            <a:pPr marL="0" lvl="0" indent="0" algn="l" defTabSz="444500">
              <a:lnSpc>
                <a:spcPct val="90000"/>
              </a:lnSpc>
              <a:spcBef>
                <a:spcPct val="0"/>
              </a:spcBef>
              <a:spcAft>
                <a:spcPct val="35000"/>
              </a:spcAft>
              <a:buNone/>
            </a:pPr>
            <a:r>
              <a:rPr lang="en-US" sz="1000" kern="1200" dirty="0"/>
              <a:t>Continuous composed of linear, non-linear and interactions of 20 observed predictors.</a:t>
            </a:r>
          </a:p>
          <a:p>
            <a:pPr marL="57150" lvl="1" indent="-57150" algn="l" defTabSz="355600">
              <a:lnSpc>
                <a:spcPct val="90000"/>
              </a:lnSpc>
              <a:spcBef>
                <a:spcPct val="0"/>
              </a:spcBef>
              <a:spcAft>
                <a:spcPct val="15000"/>
              </a:spcAft>
              <a:buChar char="•"/>
            </a:pPr>
            <a:r>
              <a:rPr lang="en-US" sz="800" kern="1200" dirty="0"/>
              <a:t>20 “false target” predictors also included.</a:t>
            </a:r>
          </a:p>
        </p:txBody>
      </p:sp>
      <p:sp>
        <p:nvSpPr>
          <p:cNvPr id="13" name="Freeform: Shape 12">
            <a:extLst>
              <a:ext uri="{FF2B5EF4-FFF2-40B4-BE49-F238E27FC236}">
                <a16:creationId xmlns:a16="http://schemas.microsoft.com/office/drawing/2014/main" id="{2D67623E-9B00-4131-9AA5-1C4323C27FDA}"/>
              </a:ext>
            </a:extLst>
          </p:cNvPr>
          <p:cNvSpPr/>
          <p:nvPr/>
        </p:nvSpPr>
        <p:spPr>
          <a:xfrm>
            <a:off x="9726369" y="2403163"/>
            <a:ext cx="956368" cy="1957795"/>
          </a:xfrm>
          <a:custGeom>
            <a:avLst/>
            <a:gdLst>
              <a:gd name="connsiteX0" fmla="*/ 0 w 956368"/>
              <a:gd name="connsiteY0" fmla="*/ 159398 h 1957795"/>
              <a:gd name="connsiteX1" fmla="*/ 159398 w 956368"/>
              <a:gd name="connsiteY1" fmla="*/ 0 h 1957795"/>
              <a:gd name="connsiteX2" fmla="*/ 796970 w 956368"/>
              <a:gd name="connsiteY2" fmla="*/ 0 h 1957795"/>
              <a:gd name="connsiteX3" fmla="*/ 956368 w 956368"/>
              <a:gd name="connsiteY3" fmla="*/ 159398 h 1957795"/>
              <a:gd name="connsiteX4" fmla="*/ 956368 w 956368"/>
              <a:gd name="connsiteY4" fmla="*/ 1798397 h 1957795"/>
              <a:gd name="connsiteX5" fmla="*/ 796970 w 956368"/>
              <a:gd name="connsiteY5" fmla="*/ 1957795 h 1957795"/>
              <a:gd name="connsiteX6" fmla="*/ 159398 w 956368"/>
              <a:gd name="connsiteY6" fmla="*/ 1957795 h 1957795"/>
              <a:gd name="connsiteX7" fmla="*/ 0 w 956368"/>
              <a:gd name="connsiteY7" fmla="*/ 1798397 h 1957795"/>
              <a:gd name="connsiteX8" fmla="*/ 0 w 956368"/>
              <a:gd name="connsiteY8" fmla="*/ 159398 h 195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6368" h="1957795">
                <a:moveTo>
                  <a:pt x="0" y="159398"/>
                </a:moveTo>
                <a:cubicBezTo>
                  <a:pt x="0" y="71365"/>
                  <a:pt x="71365" y="0"/>
                  <a:pt x="159398" y="0"/>
                </a:cubicBezTo>
                <a:lnTo>
                  <a:pt x="796970" y="0"/>
                </a:lnTo>
                <a:cubicBezTo>
                  <a:pt x="885003" y="0"/>
                  <a:pt x="956368" y="71365"/>
                  <a:pt x="956368" y="159398"/>
                </a:cubicBezTo>
                <a:lnTo>
                  <a:pt x="956368" y="1798397"/>
                </a:lnTo>
                <a:cubicBezTo>
                  <a:pt x="956368" y="1886430"/>
                  <a:pt x="885003" y="1957795"/>
                  <a:pt x="796970" y="1957795"/>
                </a:cubicBezTo>
                <a:lnTo>
                  <a:pt x="159398" y="1957795"/>
                </a:lnTo>
                <a:cubicBezTo>
                  <a:pt x="71365" y="1957795"/>
                  <a:pt x="0" y="1886430"/>
                  <a:pt x="0" y="1798397"/>
                </a:cubicBezTo>
                <a:lnTo>
                  <a:pt x="0" y="15939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786" tIns="84786" rIns="84786" bIns="84786" numCol="1" spcCol="1270" anchor="ctr" anchorCtr="0">
            <a:noAutofit/>
          </a:bodyPr>
          <a:lstStyle/>
          <a:p>
            <a:pPr marL="0" lvl="0" indent="0" algn="ctr" defTabSz="444500">
              <a:lnSpc>
                <a:spcPct val="90000"/>
              </a:lnSpc>
              <a:spcBef>
                <a:spcPct val="0"/>
              </a:spcBef>
              <a:spcAft>
                <a:spcPct val="35000"/>
              </a:spcAft>
              <a:buNone/>
            </a:pPr>
            <a:r>
              <a:rPr lang="en-US" sz="1000" kern="1200"/>
              <a:t>“Training” set of 2,000 observations: used to build models.</a:t>
            </a:r>
          </a:p>
        </p:txBody>
      </p:sp>
      <p:sp>
        <p:nvSpPr>
          <p:cNvPr id="15" name="Freeform: Shape 14">
            <a:extLst>
              <a:ext uri="{FF2B5EF4-FFF2-40B4-BE49-F238E27FC236}">
                <a16:creationId xmlns:a16="http://schemas.microsoft.com/office/drawing/2014/main" id="{75BFF52F-8163-4D6A-9D96-5BF77862B7BB}"/>
              </a:ext>
            </a:extLst>
          </p:cNvPr>
          <p:cNvSpPr/>
          <p:nvPr/>
        </p:nvSpPr>
        <p:spPr>
          <a:xfrm>
            <a:off x="10730556" y="2403163"/>
            <a:ext cx="956368" cy="1957795"/>
          </a:xfrm>
          <a:custGeom>
            <a:avLst/>
            <a:gdLst>
              <a:gd name="connsiteX0" fmla="*/ 0 w 956368"/>
              <a:gd name="connsiteY0" fmla="*/ 159398 h 1957795"/>
              <a:gd name="connsiteX1" fmla="*/ 159398 w 956368"/>
              <a:gd name="connsiteY1" fmla="*/ 0 h 1957795"/>
              <a:gd name="connsiteX2" fmla="*/ 796970 w 956368"/>
              <a:gd name="connsiteY2" fmla="*/ 0 h 1957795"/>
              <a:gd name="connsiteX3" fmla="*/ 956368 w 956368"/>
              <a:gd name="connsiteY3" fmla="*/ 159398 h 1957795"/>
              <a:gd name="connsiteX4" fmla="*/ 956368 w 956368"/>
              <a:gd name="connsiteY4" fmla="*/ 1798397 h 1957795"/>
              <a:gd name="connsiteX5" fmla="*/ 796970 w 956368"/>
              <a:gd name="connsiteY5" fmla="*/ 1957795 h 1957795"/>
              <a:gd name="connsiteX6" fmla="*/ 159398 w 956368"/>
              <a:gd name="connsiteY6" fmla="*/ 1957795 h 1957795"/>
              <a:gd name="connsiteX7" fmla="*/ 0 w 956368"/>
              <a:gd name="connsiteY7" fmla="*/ 1798397 h 1957795"/>
              <a:gd name="connsiteX8" fmla="*/ 0 w 956368"/>
              <a:gd name="connsiteY8" fmla="*/ 159398 h 195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6368" h="1957795">
                <a:moveTo>
                  <a:pt x="0" y="159398"/>
                </a:moveTo>
                <a:cubicBezTo>
                  <a:pt x="0" y="71365"/>
                  <a:pt x="71365" y="0"/>
                  <a:pt x="159398" y="0"/>
                </a:cubicBezTo>
                <a:lnTo>
                  <a:pt x="796970" y="0"/>
                </a:lnTo>
                <a:cubicBezTo>
                  <a:pt x="885003" y="0"/>
                  <a:pt x="956368" y="71365"/>
                  <a:pt x="956368" y="159398"/>
                </a:cubicBezTo>
                <a:lnTo>
                  <a:pt x="956368" y="1798397"/>
                </a:lnTo>
                <a:cubicBezTo>
                  <a:pt x="956368" y="1886430"/>
                  <a:pt x="885003" y="1957795"/>
                  <a:pt x="796970" y="1957795"/>
                </a:cubicBezTo>
                <a:lnTo>
                  <a:pt x="159398" y="1957795"/>
                </a:lnTo>
                <a:cubicBezTo>
                  <a:pt x="71365" y="1957795"/>
                  <a:pt x="0" y="1886430"/>
                  <a:pt x="0" y="1798397"/>
                </a:cubicBezTo>
                <a:lnTo>
                  <a:pt x="0" y="15939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786" tIns="84786" rIns="84786" bIns="84786" numCol="1" spcCol="1270" anchor="ctr" anchorCtr="0">
            <a:noAutofit/>
          </a:bodyPr>
          <a:lstStyle/>
          <a:p>
            <a:pPr marL="0" lvl="0" indent="0" algn="ctr" defTabSz="444500">
              <a:lnSpc>
                <a:spcPct val="90000"/>
              </a:lnSpc>
              <a:spcBef>
                <a:spcPct val="0"/>
              </a:spcBef>
              <a:spcAft>
                <a:spcPct val="35000"/>
              </a:spcAft>
              <a:buNone/>
            </a:pPr>
            <a:r>
              <a:rPr lang="en-US" sz="1000" kern="1200"/>
              <a:t>“Validation” set of 98,000 observations used to measure predictive performance.</a:t>
            </a:r>
          </a:p>
        </p:txBody>
      </p:sp>
    </p:spTree>
    <p:extLst>
      <p:ext uri="{BB962C8B-B14F-4D97-AF65-F5344CB8AC3E}">
        <p14:creationId xmlns:p14="http://schemas.microsoft.com/office/powerpoint/2010/main" val="38009836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docProps/app.xml><?xml version="1.0" encoding="utf-8"?>
<Properties xmlns="http://schemas.openxmlformats.org/officeDocument/2006/extended-properties" xmlns:vt="http://schemas.openxmlformats.org/officeDocument/2006/docPropsVTypes">
  <TotalTime>19</TotalTime>
  <Words>3259</Words>
  <Application>Microsoft Office PowerPoint</Application>
  <PresentationFormat>Widescreen</PresentationFormat>
  <Paragraphs>314</Paragraphs>
  <Slides>4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3" baseType="lpstr">
      <vt:lpstr>Arial</vt:lpstr>
      <vt:lpstr>Calibri</vt:lpstr>
      <vt:lpstr>Calibri Light</vt:lpstr>
      <vt:lpstr>Cambria Math</vt:lpstr>
      <vt:lpstr>Lucida Grande</vt:lpstr>
      <vt:lpstr>Symbol</vt:lpstr>
      <vt:lpstr>1_Office Theme</vt:lpstr>
      <vt:lpstr>think-cell Slide</vt:lpstr>
      <vt:lpstr>Principles of Machine Learning for Prediction</vt:lpstr>
      <vt:lpstr>PowerPoint Presentation</vt:lpstr>
      <vt:lpstr>Key Learning Concepts</vt:lpstr>
      <vt:lpstr>The Prediction Problem</vt:lpstr>
      <vt:lpstr>Functional Approximation</vt:lpstr>
      <vt:lpstr>“Curse of Dimensionality”</vt:lpstr>
      <vt:lpstr>The Iron Law of Prediction</vt:lpstr>
      <vt:lpstr>PowerPoint Presentation</vt:lpstr>
      <vt:lpstr>A simulated dataset</vt:lpstr>
      <vt:lpstr>Penalization: the LASSO</vt:lpstr>
      <vt:lpstr>Tuning Models through Cross Validation</vt:lpstr>
      <vt:lpstr>PowerPoint Presentation</vt:lpstr>
      <vt:lpstr>PowerPoint Presentation</vt:lpstr>
      <vt:lpstr>Comparing Performance</vt:lpstr>
      <vt:lpstr>“All our wisdom is stored in the trees.”        – Santosh Kalwar</vt:lpstr>
      <vt:lpstr>PowerPoint Presentation</vt:lpstr>
      <vt:lpstr>Too Small?</vt:lpstr>
      <vt:lpstr>Too Big!!!</vt:lpstr>
      <vt:lpstr>Just Right!</vt:lpstr>
      <vt:lpstr>PowerPoint Presentation</vt:lpstr>
      <vt:lpstr>PowerPoint Presentation</vt:lpstr>
      <vt:lpstr>Now, how did we do?</vt:lpstr>
      <vt:lpstr>Ensembles of Weak Learners</vt:lpstr>
      <vt:lpstr>PowerPoint Presentation</vt:lpstr>
      <vt:lpstr>Random Forest</vt:lpstr>
      <vt:lpstr>Tuning Ensemble Models</vt:lpstr>
      <vt:lpstr>Now, how did we do?</vt:lpstr>
      <vt:lpstr>PowerPoint Presentation</vt:lpstr>
      <vt:lpstr>Boosting: Learning from Errors</vt:lpstr>
      <vt:lpstr>Gradient Boosting</vt:lpstr>
      <vt:lpstr>PowerPoint Presentation</vt:lpstr>
      <vt:lpstr>Feature Importance</vt:lpstr>
      <vt:lpstr>Partial Dependence</vt:lpstr>
      <vt:lpstr>PowerPoint Presentation</vt:lpstr>
      <vt:lpstr>Now, how did we do?</vt:lpstr>
      <vt:lpstr>What have we learned from the simulation?</vt:lpstr>
      <vt:lpstr>   Application:  Estimating Propensity Scores for the Receipt of Allogeneic Hematopoietic Cell Transplantation (AlloHCT) in Outcomes Research Using Claims Data: A Machine Learning Approach  Vanness DJ, Preussler JM, Burns LJ, Denzen EM, Leppke SN, Majhail NS, Mupfudze T, Saber W, Silver A, Steinert P, Mau LW. Biology of Blood and Marrow Transplantation. 2018 Mar 1;24(3):S304-5.</vt:lpstr>
      <vt:lpstr>Addressing Potential Confounders</vt:lpstr>
      <vt:lpstr>Data</vt:lpstr>
      <vt:lpstr>Approach</vt:lpstr>
      <vt:lpstr>Balance Results</vt:lpstr>
      <vt:lpstr>Propensity Score Distributions</vt:lpstr>
      <vt:lpstr>Distribution of Treatment Selection Errors</vt:lpstr>
      <vt:lpstr>Recap of Learning Objectives</vt:lpstr>
      <vt:lpstr>References / Reading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les of Machine Learning for Prediction</dc:title>
  <dc:creator>David Vanness</dc:creator>
  <cp:lastModifiedBy>David Vanness</cp:lastModifiedBy>
  <cp:revision>3</cp:revision>
  <dcterms:created xsi:type="dcterms:W3CDTF">2019-07-28T20:21:17Z</dcterms:created>
  <dcterms:modified xsi:type="dcterms:W3CDTF">2019-07-28T20:40:58Z</dcterms:modified>
</cp:coreProperties>
</file>